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notesSlides/notesSlide1.xml" ContentType="application/vnd.openxmlformats-officedocument.presentationml.notesSlide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notesSlides/notesSlide2.xml" ContentType="application/vnd.openxmlformats-officedocument.presentationml.notesSlide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notesSlides/notesSlide3.xml" ContentType="application/vnd.openxmlformats-officedocument.presentationml.notesSlid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notesSlides/notesSlide4.xml" ContentType="application/vnd.openxmlformats-officedocument.presentationml.notesSlide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notesSlides/notesSlide5.xml" ContentType="application/vnd.openxmlformats-officedocument.presentationml.notesSlide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864" r:id="rId2"/>
    <p:sldMasterId id="2147483959" r:id="rId3"/>
  </p:sldMasterIdLst>
  <p:notesMasterIdLst>
    <p:notesMasterId r:id="rId12"/>
  </p:notesMasterIdLst>
  <p:handoutMasterIdLst>
    <p:handoutMasterId r:id="rId13"/>
  </p:handoutMasterIdLst>
  <p:sldIdLst>
    <p:sldId id="258" r:id="rId4"/>
    <p:sldId id="2147474691" r:id="rId5"/>
    <p:sldId id="3742" r:id="rId6"/>
    <p:sldId id="2147474664" r:id="rId7"/>
    <p:sldId id="2147474665" r:id="rId8"/>
    <p:sldId id="2147474681" r:id="rId9"/>
    <p:sldId id="2147477923" r:id="rId10"/>
    <p:sldId id="2147477925" r:id="rId11"/>
  </p:sldIdLst>
  <p:sldSz cx="12192000" cy="6858000"/>
  <p:notesSz cx="7102475" cy="9388475"/>
  <p:embeddedFontLst>
    <p:embeddedFont>
      <p:font typeface="Georgia" panose="02040502050405020303" pitchFamily="18" charset="0"/>
      <p:regular r:id="rId14"/>
      <p:bold r:id="rId15"/>
      <p:italic r:id="rId16"/>
      <p:boldItalic r:id="rId17"/>
    </p:embeddedFont>
    <p:embeddedFont>
      <p:font typeface="Segoe UI" panose="020B0502040204020203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0E6"/>
    <a:srgbClr val="FFFFEE"/>
    <a:srgbClr val="E8E8E8"/>
    <a:srgbClr val="FFFFFF"/>
    <a:srgbClr val="AC7723"/>
    <a:srgbClr val="CFA030"/>
    <a:srgbClr val="FFE242"/>
    <a:srgbClr val="AA4D1E"/>
    <a:srgbClr val="DD8080"/>
    <a:srgbClr val="D561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64" autoAdjust="0"/>
    <p:restoredTop sz="93792" autoAdjust="0"/>
  </p:normalViewPr>
  <p:slideViewPr>
    <p:cSldViewPr snapToGrid="0" snapToObjects="1">
      <p:cViewPr varScale="1">
        <p:scale>
          <a:sx n="109" d="100"/>
          <a:sy n="109" d="100"/>
        </p:scale>
        <p:origin x="744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8.fntdata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font" Target="fonts/font6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2 May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2 May 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834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960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540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633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y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73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1.xml"/><Relationship Id="rId9" Type="http://schemas.openxmlformats.org/officeDocument/2006/relationships/tags" Target="../tags/tag9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2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1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7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2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2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1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2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2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image" Target="../media/image2.emf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4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8.xml"/><Relationship Id="rId9" Type="http://schemas.openxmlformats.org/officeDocument/2006/relationships/tags" Target="../tags/tag25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5" Type="http://schemas.openxmlformats.org/officeDocument/2006/relationships/tags" Target="../tags/tag258.xml"/><Relationship Id="rId10" Type="http://schemas.openxmlformats.org/officeDocument/2006/relationships/image" Target="../media/image2.emf"/><Relationship Id="rId4" Type="http://schemas.openxmlformats.org/officeDocument/2006/relationships/tags" Target="../tags/tag257.xml"/><Relationship Id="rId9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5.xml"/><Relationship Id="rId4" Type="http://schemas.openxmlformats.org/officeDocument/2006/relationships/tags" Target="../tags/tag26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5" Type="http://schemas.openxmlformats.org/officeDocument/2006/relationships/tags" Target="../tags/tag272.xml"/><Relationship Id="rId4" Type="http://schemas.openxmlformats.org/officeDocument/2006/relationships/tags" Target="../tags/tag271.xml"/><Relationship Id="rId9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image" Target="../media/image4.emf"/><Relationship Id="rId2" Type="http://schemas.openxmlformats.org/officeDocument/2006/relationships/tags" Target="../tags/tag275.xml"/><Relationship Id="rId16" Type="http://schemas.openxmlformats.org/officeDocument/2006/relationships/oleObject" Target="../embeddings/oleObject36.bin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5" Type="http://schemas.openxmlformats.org/officeDocument/2006/relationships/tags" Target="../tags/tag27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image" Target="../media/image8.png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11" Type="http://schemas.openxmlformats.org/officeDocument/2006/relationships/image" Target="../media/image7.emf"/><Relationship Id="rId5" Type="http://schemas.openxmlformats.org/officeDocument/2006/relationships/tags" Target="../tags/tag315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314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5" Type="http://schemas.openxmlformats.org/officeDocument/2006/relationships/tags" Target="../tags/tag323.xml"/><Relationship Id="rId10" Type="http://schemas.openxmlformats.org/officeDocument/2006/relationships/image" Target="../media/image1.emf"/><Relationship Id="rId4" Type="http://schemas.openxmlformats.org/officeDocument/2006/relationships/tags" Target="../tags/tag322.xml"/><Relationship Id="rId9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3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5" Type="http://schemas.openxmlformats.org/officeDocument/2006/relationships/tags" Target="../tags/tag338.xml"/><Relationship Id="rId4" Type="http://schemas.openxmlformats.org/officeDocument/2006/relationships/tags" Target="../tags/tag337.xml"/><Relationship Id="rId9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5" Type="http://schemas.openxmlformats.org/officeDocument/2006/relationships/tags" Target="../tags/tag344.xml"/><Relationship Id="rId10" Type="http://schemas.openxmlformats.org/officeDocument/2006/relationships/image" Target="../media/image9.emf"/><Relationship Id="rId4" Type="http://schemas.openxmlformats.org/officeDocument/2006/relationships/tags" Target="../tags/tag343.xml"/><Relationship Id="rId9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13" Type="http://schemas.openxmlformats.org/officeDocument/2006/relationships/tags" Target="../tags/tag359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tags" Target="../tags/tag358.xml"/><Relationship Id="rId2" Type="http://schemas.openxmlformats.org/officeDocument/2006/relationships/tags" Target="../tags/tag348.xml"/><Relationship Id="rId16" Type="http://schemas.openxmlformats.org/officeDocument/2006/relationships/image" Target="../media/image1.emf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tags" Target="../tags/tag357.xml"/><Relationship Id="rId5" Type="http://schemas.openxmlformats.org/officeDocument/2006/relationships/tags" Target="../tags/tag351.xml"/><Relationship Id="rId15" Type="http://schemas.openxmlformats.org/officeDocument/2006/relationships/oleObject" Target="../embeddings/oleObject42.bin"/><Relationship Id="rId10" Type="http://schemas.openxmlformats.org/officeDocument/2006/relationships/tags" Target="../tags/tag356.xml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2" Type="http://schemas.openxmlformats.org/officeDocument/2006/relationships/tags" Target="../tags/tag361.xml"/><Relationship Id="rId16" Type="http://schemas.openxmlformats.org/officeDocument/2006/relationships/image" Target="../media/image1.emf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5" Type="http://schemas.openxmlformats.org/officeDocument/2006/relationships/tags" Target="../tags/tag364.xml"/><Relationship Id="rId15" Type="http://schemas.openxmlformats.org/officeDocument/2006/relationships/oleObject" Target="../embeddings/oleObject43.bin"/><Relationship Id="rId10" Type="http://schemas.openxmlformats.org/officeDocument/2006/relationships/tags" Target="../tags/tag369.xml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13" Type="http://schemas.openxmlformats.org/officeDocument/2006/relationships/tags" Target="../tags/tag385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12" Type="http://schemas.openxmlformats.org/officeDocument/2006/relationships/tags" Target="../tags/tag384.xml"/><Relationship Id="rId17" Type="http://schemas.openxmlformats.org/officeDocument/2006/relationships/image" Target="../media/image1.emf"/><Relationship Id="rId2" Type="http://schemas.openxmlformats.org/officeDocument/2006/relationships/tags" Target="../tags/tag374.xml"/><Relationship Id="rId16" Type="http://schemas.openxmlformats.org/officeDocument/2006/relationships/oleObject" Target="../embeddings/oleObject44.bin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11" Type="http://schemas.openxmlformats.org/officeDocument/2006/relationships/tags" Target="../tags/tag383.xml"/><Relationship Id="rId5" Type="http://schemas.openxmlformats.org/officeDocument/2006/relationships/tags" Target="../tags/tag37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82.xml"/><Relationship Id="rId4" Type="http://schemas.openxmlformats.org/officeDocument/2006/relationships/tags" Target="../tags/tag376.xml"/><Relationship Id="rId9" Type="http://schemas.openxmlformats.org/officeDocument/2006/relationships/tags" Target="../tags/tag381.xml"/><Relationship Id="rId14" Type="http://schemas.openxmlformats.org/officeDocument/2006/relationships/tags" Target="../tags/tag386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13" Type="http://schemas.openxmlformats.org/officeDocument/2006/relationships/tags" Target="../tags/tag399.xml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12" Type="http://schemas.openxmlformats.org/officeDocument/2006/relationships/tags" Target="../tags/tag398.xml"/><Relationship Id="rId17" Type="http://schemas.openxmlformats.org/officeDocument/2006/relationships/image" Target="../media/image4.emf"/><Relationship Id="rId2" Type="http://schemas.openxmlformats.org/officeDocument/2006/relationships/tags" Target="../tags/tag388.xml"/><Relationship Id="rId16" Type="http://schemas.openxmlformats.org/officeDocument/2006/relationships/oleObject" Target="../embeddings/oleObject45.bin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tags" Target="../tags/tag397.xml"/><Relationship Id="rId5" Type="http://schemas.openxmlformats.org/officeDocument/2006/relationships/tags" Target="../tags/tag39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96.xml"/><Relationship Id="rId4" Type="http://schemas.openxmlformats.org/officeDocument/2006/relationships/tags" Target="../tags/tag390.xml"/><Relationship Id="rId9" Type="http://schemas.openxmlformats.org/officeDocument/2006/relationships/tags" Target="../tags/tag395.xml"/><Relationship Id="rId14" Type="http://schemas.openxmlformats.org/officeDocument/2006/relationships/tags" Target="../tags/tag400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tags" Target="../tags/tag413.xml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tags" Target="../tags/tag412.xml"/><Relationship Id="rId2" Type="http://schemas.openxmlformats.org/officeDocument/2006/relationships/tags" Target="../tags/tag402.xml"/><Relationship Id="rId16" Type="http://schemas.openxmlformats.org/officeDocument/2006/relationships/image" Target="../media/image1.emf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tags" Target="../tags/tag411.xml"/><Relationship Id="rId5" Type="http://schemas.openxmlformats.org/officeDocument/2006/relationships/tags" Target="../tags/tag405.xml"/><Relationship Id="rId15" Type="http://schemas.openxmlformats.org/officeDocument/2006/relationships/oleObject" Target="../embeddings/oleObject46.bin"/><Relationship Id="rId10" Type="http://schemas.openxmlformats.org/officeDocument/2006/relationships/tags" Target="../tags/tag410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tags" Target="../tags/tag419.xml"/><Relationship Id="rId5" Type="http://schemas.openxmlformats.org/officeDocument/2006/relationships/tags" Target="../tags/tag418.xml"/><Relationship Id="rId4" Type="http://schemas.openxmlformats.org/officeDocument/2006/relationships/tags" Target="../tags/tag41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423.xml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2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7" Type="http://schemas.openxmlformats.org/officeDocument/2006/relationships/image" Target="../media/image10.png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30.xml"/><Relationship Id="rId7" Type="http://schemas.openxmlformats.org/officeDocument/2006/relationships/tags" Target="../tags/tag434.xml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5" Type="http://schemas.openxmlformats.org/officeDocument/2006/relationships/tags" Target="../tags/tag432.xml"/><Relationship Id="rId4" Type="http://schemas.openxmlformats.org/officeDocument/2006/relationships/tags" Target="../tags/tag43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2.emf"/><Relationship Id="rId4" Type="http://schemas.openxmlformats.org/officeDocument/2006/relationships/tags" Target="../tags/tag5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1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BC212018-3FC7-4564-BC6A-0AC9E668A3A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22" name="Documenttype">
            <a:extLst>
              <a:ext uri="{FF2B5EF4-FFF2-40B4-BE49-F238E27FC236}">
                <a16:creationId xmlns:a16="http://schemas.microsoft.com/office/drawing/2014/main" id="{712BDF23-E1A1-4433-BD5C-0C8A43284B7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8B249FCE-DFF0-43AB-BDDB-16D68DB1B82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F7514-4A99-422C-9CCD-C186B1280DD9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1E1CC23-DA6C-40AD-9A27-8279C50B672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3E147B5-D313-4C1A-A68C-8A2F58C5A3F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E840329D-6237-4766-BBAD-19DF8580714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CE759982-65BD-45C6-9F5F-67AD8CC39F4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ADD1B-C2B6-46E6-891B-FB7497BE529F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C00B730E-81AE-4BCD-8441-6CFDD78018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79199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C00B730E-81AE-4BCD-8441-6CFDD7801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191934-9D3E-4BCE-AD5D-2A3E3EE22E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3" y="234864"/>
            <a:ext cx="11192472" cy="345431"/>
          </a:xfrm>
        </p:spPr>
        <p:txBody>
          <a:bodyPr/>
          <a:lstStyle>
            <a:lvl1pPr>
              <a:defRPr sz="224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 eaLnBrk="1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0B1B111-F840-4A82-A57C-209F9B01AE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23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363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AEF9DE57-1405-4D82-A9ED-0EACD420D2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Disclaimer-English (United States)">
            <a:extLst>
              <a:ext uri="{FF2B5EF4-FFF2-40B4-BE49-F238E27FC236}">
                <a16:creationId xmlns:a16="http://schemas.microsoft.com/office/drawing/2014/main" id="{176B7BBC-6927-4E5E-ADFA-89A409F5B0C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E1E4A83A-7456-4039-9A31-6A81A39288A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7BF4AF4-D626-46C5-BD91-F90A37E85249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9354C-0766-4C79-A38C-241C3413E74E}"/>
              </a:ext>
            </a:extLst>
          </p:cNvPr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51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21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628A29A-7140-4215-AAD3-408E4038DE4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29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5B234232-A4C2-47B6-8806-916ADD0C18B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87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DBB81CC-F849-4BD4-88CE-334EE9B3F27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1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978A8CD-047D-490F-98D5-36F9E9BD991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673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C296B58-AF91-49AF-AE35-151C07ADA47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99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CD6AC10-5155-4024-A132-5D89A66014F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42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C36A9C0C-DA66-4674-9323-83DEFB4A0EC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86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4C2FE976-3D2A-414C-9AC4-4E279E2274D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B07A955C-5768-4F78-BCD2-EEC29CDF1A1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3050FA4E-931F-44C4-BAB6-319201BCD51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67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83E61E-A3D9-46A9-AE4D-7B9F5BDF9747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7011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202848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1601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002212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933548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908282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93016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679007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746479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93353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6722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88303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88613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126627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86334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471971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843191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109F12A2-9074-48F5-93E9-3E245489D2B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CC59723C-6844-4221-8A4A-B84B177C9374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4176DD9F-F8AA-4052-AB7D-4F492BC276D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ags" Target="../tags/tag128.xml"/><Relationship Id="rId39" Type="http://schemas.openxmlformats.org/officeDocument/2006/relationships/tags" Target="../tags/tag141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42" Type="http://schemas.openxmlformats.org/officeDocument/2006/relationships/tags" Target="../tags/tag144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heme" Target="../theme/theme2.xml"/><Relationship Id="rId29" Type="http://schemas.openxmlformats.org/officeDocument/2006/relationships/tags" Target="../tags/tag131.xml"/><Relationship Id="rId41" Type="http://schemas.openxmlformats.org/officeDocument/2006/relationships/tags" Target="../tags/tag14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tags" Target="../tags/tag139.xml"/><Relationship Id="rId40" Type="http://schemas.openxmlformats.org/officeDocument/2006/relationships/tags" Target="../tags/tag14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tags" Target="../tags/tag1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13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Relationship Id="rId43" Type="http://schemas.openxmlformats.org/officeDocument/2006/relationships/oleObject" Target="../embeddings/oleObject17.bin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tags" Target="../tags/tag1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tags" Target="../tags/tag289.xml"/><Relationship Id="rId26" Type="http://schemas.openxmlformats.org/officeDocument/2006/relationships/tags" Target="../tags/tag297.xml"/><Relationship Id="rId39" Type="http://schemas.openxmlformats.org/officeDocument/2006/relationships/tags" Target="../tags/tag310.xml"/><Relationship Id="rId21" Type="http://schemas.openxmlformats.org/officeDocument/2006/relationships/tags" Target="../tags/tag292.xml"/><Relationship Id="rId34" Type="http://schemas.openxmlformats.org/officeDocument/2006/relationships/tags" Target="../tags/tag305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theme" Target="../theme/theme3.xml"/><Relationship Id="rId20" Type="http://schemas.openxmlformats.org/officeDocument/2006/relationships/tags" Target="../tags/tag291.xml"/><Relationship Id="rId29" Type="http://schemas.openxmlformats.org/officeDocument/2006/relationships/tags" Target="../tags/tag30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ags" Target="../tags/tag295.xml"/><Relationship Id="rId32" Type="http://schemas.openxmlformats.org/officeDocument/2006/relationships/tags" Target="../tags/tag303.xml"/><Relationship Id="rId37" Type="http://schemas.openxmlformats.org/officeDocument/2006/relationships/tags" Target="../tags/tag308.xml"/><Relationship Id="rId40" Type="http://schemas.openxmlformats.org/officeDocument/2006/relationships/oleObject" Target="../embeddings/oleObject37.bin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tags" Target="../tags/tag294.xml"/><Relationship Id="rId28" Type="http://schemas.openxmlformats.org/officeDocument/2006/relationships/tags" Target="../tags/tag299.xml"/><Relationship Id="rId36" Type="http://schemas.openxmlformats.org/officeDocument/2006/relationships/tags" Target="../tags/tag307.xml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290.xml"/><Relationship Id="rId31" Type="http://schemas.openxmlformats.org/officeDocument/2006/relationships/tags" Target="../tags/tag30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293.xml"/><Relationship Id="rId27" Type="http://schemas.openxmlformats.org/officeDocument/2006/relationships/tags" Target="../tags/tag298.xml"/><Relationship Id="rId30" Type="http://schemas.openxmlformats.org/officeDocument/2006/relationships/tags" Target="../tags/tag301.xml"/><Relationship Id="rId35" Type="http://schemas.openxmlformats.org/officeDocument/2006/relationships/tags" Target="../tags/tag306.xml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288.xml"/><Relationship Id="rId25" Type="http://schemas.openxmlformats.org/officeDocument/2006/relationships/tags" Target="../tags/tag296.xml"/><Relationship Id="rId33" Type="http://schemas.openxmlformats.org/officeDocument/2006/relationships/tags" Target="../tags/tag304.xml"/><Relationship Id="rId38" Type="http://schemas.openxmlformats.org/officeDocument/2006/relationships/tags" Target="../tags/tag3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33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8" name="SlideLogoText">
            <a:extLst>
              <a:ext uri="{FF2B5EF4-FFF2-40B4-BE49-F238E27FC236}">
                <a16:creationId xmlns:a16="http://schemas.microsoft.com/office/drawing/2014/main" id="{8D574FFE-81A7-4651-A7DE-C7A84A035E00}"/>
              </a:ext>
            </a:extLst>
          </p:cNvPr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D97663A-F791-4E92-9365-CB813C9BC374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EAE2240-C81D-4CA1-98E3-B35AEF921F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499D379-D492-44E0-845F-E875946CF4F5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0073C53-9F6F-4656-A656-DB736FB2832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FB456E-2344-4E2D-B77B-3FC87625B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03980B9-14BF-4E57-87D9-56C880BB172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57A44DC-B2E5-4EAD-8BCE-531A7CFAF9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50C7AAA3-ABE1-4F29-B1E1-26A5AC82533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3704209-C3C0-458F-86F0-8E40BBBE39B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196E1F53-76CE-4F04-B7B8-2166FDA9AE4E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83462F9-6A37-4CC1-8D94-01DFA338F69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4ADA2EA-D59D-42BA-8DCC-5C8283DCCCE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7E5190C7-EB40-459A-A0BB-E468A1FA4F69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6DEBB72-75E8-463A-8350-806BB74E317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9CDBF45-8357-4CE6-B6AF-EF5A753A44A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05C40B-856D-497D-A1B8-607FF1EA417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17215290-E193-4DCC-AD37-91F900FD885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65D5F43-792E-4FBA-97F8-038AC5303FA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8EAA3CDC-A24E-4F39-AD69-FC3F6454BE5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CBEB3BB3-87F9-41E3-8454-121AB7876E8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1C07254-D4B4-4E36-A614-4B6C78BCB9E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FE2879A-3A88-4D85-A9A6-0407D93373D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AF11CAD8-4135-4CD9-85B3-6859BBB855A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B7DDE4-7052-41EA-982A-F327D864DE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D83CA23-B446-4B60-BEC7-045FEDD9FFF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CC611DF-76ED-4B41-9279-99C0E3532FE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C04C75E-81DE-4476-B7D8-0F11B682FAA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292F908-925C-43D7-AA92-BB8953F84B2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DAF2E18-689A-41D7-8318-A27B61E525E1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9125C35-A045-4AEC-B260-A899D8FF21B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7C82C3C3-A5AE-45EB-8BF6-AE31CB394C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85FCDFE-0AFF-43C2-938E-CCF101E4142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D1FF62D-E7C4-47EF-86EA-F55A826E778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D42050-F435-4EA8-BAE4-BB1E1B5864A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2B851ED3-A382-4DBB-8F7D-B32C906DC12F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84BA7900-FE12-4EF4-8CD7-590783C9BCF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F569B22-62E6-4578-BE99-DA245B2DD06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E5C1773-5A91-4CCB-B5FE-D2C395026F6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5D40DD8-1473-4059-BEF5-5DB0F6B204FD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92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6404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592" imgH="591" progId="TCLayout.ActiveDocument.1">
                  <p:embed/>
                </p:oleObj>
              </mc:Choice>
              <mc:Fallback>
                <p:oleObj name="think-cell Slide" r:id="rId4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144" name="SlideLogoText">
            <a:extLst>
              <a:ext uri="{FF2B5EF4-FFF2-40B4-BE49-F238E27FC236}">
                <a16:creationId xmlns:a16="http://schemas.microsoft.com/office/drawing/2014/main" id="{6079B92B-B06C-4258-9E1C-3881DC358B9B}"/>
              </a:ext>
            </a:extLst>
          </p:cNvPr>
          <p:cNvSpPr>
            <a:spLocks noChangeArrowheads="1"/>
          </p:cNvSpPr>
          <p:nvPr userDrawn="1">
            <p:custDataLst>
              <p:tags r:id="rId2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2D73408D-CD62-41BB-B1DB-4E0F325E2C7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91D1BAB4-5F56-44D0-9783-8E18C01C9B9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951D7D13-1BCF-4D28-A57A-EDE3EA26BA4D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6AD11C-ACB1-46E1-84D9-40B90064FB7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8A066E9A-1B9B-4219-833A-B063F7B374F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E1858556-6678-4C8D-B559-3246911734DA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2CC9EAA7-9731-487F-AB35-E7BAEF78C97F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DD8C6EBD-A98D-4B2E-8677-D040F0E8F572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887B4F41-0C72-4EFE-B3A6-F10A416C6717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6F884311-AA65-4C5D-B838-FAEE69C5AC71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60251D9D-8390-417F-A228-D48F7CA286FC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55F75FBC-7267-4772-BC78-90BF014DBEB5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D6305ED8-A766-4C81-8A15-FD658D97AC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1D8E6026-B3DA-4A50-B7DE-FD30D0DD0C0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C749015B-5DFD-44FB-A675-78E2BB7EA8E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174A5F12-E1D5-424F-8639-AD3B66EEBF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8AB3C8E2-DAD7-49F4-8C97-7AB40B149D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D23BC853-5B82-4896-A8E7-29830F873A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2A8E9DC7-471C-4B9D-B1C3-71E691C37CE4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6057A30C-C617-4C3E-9CC2-33E2D4B9BAB3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E4D21E66-6DBD-4F65-AB24-5986DE89550E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E1EB3073-C123-46D2-8456-39107FBC7285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D877A7D0-CDF0-44DE-808D-30B87F5A6CA4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AAA6CD16-E6C1-4FD2-A146-9357B7B39913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2769EF04-22D2-41F0-9614-083A5C187B3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26F96AF0-C50A-4B8F-8347-7F8A7F3DDC8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FAD87140-0F25-456F-9677-A4DA2725BCFB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5CC0FEA5-9B05-48C2-908C-16FA6942B7F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F75DA3E7-D454-4317-A593-750A2B666BC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50A29B9C-29E7-4058-B465-A766A2F20C1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23FC380B-56F1-4D85-89D1-FB04604700F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7AF2DBF5-6F29-43FC-812F-437D3205BA5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7AA9B50E-2514-4DA5-83A8-E09B982DD7E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4259163-5803-47C2-B6DE-24D6055DCAE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3748736-9512-40C6-9C30-2848457455E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C56E157-BE6C-48BC-9763-F0CFFACE24F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3D987D-3003-45B0-BE77-253D62F0DC6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2B875629-C63F-4F2D-8B9E-0C3704F7C77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7F750322-50C4-48CC-AA09-E23390E4092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  <p:sldLayoutId id="2147483957" r:id="rId18"/>
    <p:sldLayoutId id="2147483977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86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37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6" Type="http://schemas.openxmlformats.org/officeDocument/2006/relationships/tags" Target="../tags/tag440.xml"/><Relationship Id="rId11" Type="http://schemas.openxmlformats.org/officeDocument/2006/relationships/image" Target="../media/image11.jpeg"/><Relationship Id="rId5" Type="http://schemas.openxmlformats.org/officeDocument/2006/relationships/tags" Target="../tags/tag439.xml"/><Relationship Id="rId10" Type="http://schemas.openxmlformats.org/officeDocument/2006/relationships/image" Target="../media/image2.emf"/><Relationship Id="rId4" Type="http://schemas.openxmlformats.org/officeDocument/2006/relationships/tags" Target="../tags/tag438.xml"/><Relationship Id="rId9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53.xml"/><Relationship Id="rId18" Type="http://schemas.openxmlformats.org/officeDocument/2006/relationships/tags" Target="../tags/tag458.xml"/><Relationship Id="rId26" Type="http://schemas.openxmlformats.org/officeDocument/2006/relationships/tags" Target="../tags/tag466.xml"/><Relationship Id="rId3" Type="http://schemas.openxmlformats.org/officeDocument/2006/relationships/tags" Target="../tags/tag443.xml"/><Relationship Id="rId21" Type="http://schemas.openxmlformats.org/officeDocument/2006/relationships/tags" Target="../tags/tag461.xml"/><Relationship Id="rId34" Type="http://schemas.openxmlformats.org/officeDocument/2006/relationships/image" Target="../media/image9.emf"/><Relationship Id="rId7" Type="http://schemas.openxmlformats.org/officeDocument/2006/relationships/tags" Target="../tags/tag447.xml"/><Relationship Id="rId12" Type="http://schemas.openxmlformats.org/officeDocument/2006/relationships/tags" Target="../tags/tag452.xml"/><Relationship Id="rId17" Type="http://schemas.openxmlformats.org/officeDocument/2006/relationships/tags" Target="../tags/tag457.xml"/><Relationship Id="rId25" Type="http://schemas.openxmlformats.org/officeDocument/2006/relationships/tags" Target="../tags/tag465.xml"/><Relationship Id="rId33" Type="http://schemas.openxmlformats.org/officeDocument/2006/relationships/oleObject" Target="../embeddings/oleObject49.bin"/><Relationship Id="rId2" Type="http://schemas.openxmlformats.org/officeDocument/2006/relationships/tags" Target="../tags/tag442.xml"/><Relationship Id="rId16" Type="http://schemas.openxmlformats.org/officeDocument/2006/relationships/tags" Target="../tags/tag456.xml"/><Relationship Id="rId20" Type="http://schemas.openxmlformats.org/officeDocument/2006/relationships/tags" Target="../tags/tag460.xml"/><Relationship Id="rId29" Type="http://schemas.openxmlformats.org/officeDocument/2006/relationships/tags" Target="../tags/tag469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11" Type="http://schemas.openxmlformats.org/officeDocument/2006/relationships/tags" Target="../tags/tag451.xml"/><Relationship Id="rId24" Type="http://schemas.openxmlformats.org/officeDocument/2006/relationships/tags" Target="../tags/tag464.xml"/><Relationship Id="rId32" Type="http://schemas.openxmlformats.org/officeDocument/2006/relationships/notesSlide" Target="../notesSlides/notesSlide2.xml"/><Relationship Id="rId5" Type="http://schemas.openxmlformats.org/officeDocument/2006/relationships/tags" Target="../tags/tag445.xml"/><Relationship Id="rId15" Type="http://schemas.openxmlformats.org/officeDocument/2006/relationships/tags" Target="../tags/tag455.xml"/><Relationship Id="rId23" Type="http://schemas.openxmlformats.org/officeDocument/2006/relationships/tags" Target="../tags/tag463.xml"/><Relationship Id="rId28" Type="http://schemas.openxmlformats.org/officeDocument/2006/relationships/tags" Target="../tags/tag468.xml"/><Relationship Id="rId10" Type="http://schemas.openxmlformats.org/officeDocument/2006/relationships/tags" Target="../tags/tag450.xml"/><Relationship Id="rId19" Type="http://schemas.openxmlformats.org/officeDocument/2006/relationships/tags" Target="../tags/tag459.xml"/><Relationship Id="rId31" Type="http://schemas.openxmlformats.org/officeDocument/2006/relationships/slideLayout" Target="../slideLayouts/slideLayout17.xml"/><Relationship Id="rId4" Type="http://schemas.openxmlformats.org/officeDocument/2006/relationships/tags" Target="../tags/tag444.xml"/><Relationship Id="rId9" Type="http://schemas.openxmlformats.org/officeDocument/2006/relationships/tags" Target="../tags/tag449.xml"/><Relationship Id="rId14" Type="http://schemas.openxmlformats.org/officeDocument/2006/relationships/tags" Target="../tags/tag454.xml"/><Relationship Id="rId22" Type="http://schemas.openxmlformats.org/officeDocument/2006/relationships/tags" Target="../tags/tag462.xml"/><Relationship Id="rId27" Type="http://schemas.openxmlformats.org/officeDocument/2006/relationships/tags" Target="../tags/tag467.xml"/><Relationship Id="rId30" Type="http://schemas.openxmlformats.org/officeDocument/2006/relationships/tags" Target="../tags/tag470.xml"/><Relationship Id="rId35" Type="http://schemas.openxmlformats.org/officeDocument/2006/relationships/image" Target="../media/image12.jpeg"/><Relationship Id="rId8" Type="http://schemas.openxmlformats.org/officeDocument/2006/relationships/tags" Target="../tags/tag44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473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5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tags" Target="../tags/tag476.xml"/><Relationship Id="rId11" Type="http://schemas.openxmlformats.org/officeDocument/2006/relationships/image" Target="../media/image14.svg"/><Relationship Id="rId5" Type="http://schemas.openxmlformats.org/officeDocument/2006/relationships/tags" Target="../tags/tag475.xml"/><Relationship Id="rId10" Type="http://schemas.openxmlformats.org/officeDocument/2006/relationships/image" Target="../media/image13.png"/><Relationship Id="rId4" Type="http://schemas.openxmlformats.org/officeDocument/2006/relationships/tags" Target="../tags/tag474.xml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79.xml"/><Relationship Id="rId7" Type="http://schemas.openxmlformats.org/officeDocument/2006/relationships/oleObject" Target="../embeddings/oleObject51.bin"/><Relationship Id="rId12" Type="http://schemas.openxmlformats.org/officeDocument/2006/relationships/image" Target="../media/image19.png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8.sv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7.png"/><Relationship Id="rId4" Type="http://schemas.openxmlformats.org/officeDocument/2006/relationships/tags" Target="../tags/tag480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13" Type="http://schemas.openxmlformats.org/officeDocument/2006/relationships/image" Target="../media/image22.svg"/><Relationship Id="rId18" Type="http://schemas.openxmlformats.org/officeDocument/2006/relationships/image" Target="../media/image27.png"/><Relationship Id="rId3" Type="http://schemas.openxmlformats.org/officeDocument/2006/relationships/tags" Target="../tags/tag483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21.png"/><Relationship Id="rId17" Type="http://schemas.openxmlformats.org/officeDocument/2006/relationships/image" Target="../media/image26.svg"/><Relationship Id="rId2" Type="http://schemas.openxmlformats.org/officeDocument/2006/relationships/tags" Target="../tags/tag482.xml"/><Relationship Id="rId16" Type="http://schemas.openxmlformats.org/officeDocument/2006/relationships/image" Target="../media/image25.png"/><Relationship Id="rId1" Type="http://schemas.openxmlformats.org/officeDocument/2006/relationships/tags" Target="../tags/tag481.xml"/><Relationship Id="rId6" Type="http://schemas.openxmlformats.org/officeDocument/2006/relationships/slideLayout" Target="../slideLayouts/slideLayout23.xml"/><Relationship Id="rId11" Type="http://schemas.microsoft.com/office/2007/relationships/hdphoto" Target="../media/hdphoto1.wdp"/><Relationship Id="rId5" Type="http://schemas.openxmlformats.org/officeDocument/2006/relationships/tags" Target="../tags/tag485.xml"/><Relationship Id="rId15" Type="http://schemas.openxmlformats.org/officeDocument/2006/relationships/image" Target="../media/image24.svg"/><Relationship Id="rId10" Type="http://schemas.openxmlformats.org/officeDocument/2006/relationships/image" Target="../media/image20.png"/><Relationship Id="rId19" Type="http://schemas.openxmlformats.org/officeDocument/2006/relationships/image" Target="../media/image28.svg"/><Relationship Id="rId4" Type="http://schemas.openxmlformats.org/officeDocument/2006/relationships/tags" Target="../tags/tag484.xml"/><Relationship Id="rId9" Type="http://schemas.openxmlformats.org/officeDocument/2006/relationships/image" Target="../media/image9.emf"/><Relationship Id="rId1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microsoft.com/office/2007/relationships/hdphoto" Target="../media/hdphoto5.wdp"/><Relationship Id="rId3" Type="http://schemas.openxmlformats.org/officeDocument/2006/relationships/slideLayout" Target="../slideLayouts/slideLayout17.xml"/><Relationship Id="rId7" Type="http://schemas.microsoft.com/office/2007/relationships/hdphoto" Target="../media/hdphoto2.wdp"/><Relationship Id="rId12" Type="http://schemas.openxmlformats.org/officeDocument/2006/relationships/image" Target="../media/image32.png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image" Target="../media/image29.png"/><Relationship Id="rId11" Type="http://schemas.microsoft.com/office/2007/relationships/hdphoto" Target="../media/hdphoto4.wdp"/><Relationship Id="rId5" Type="http://schemas.openxmlformats.org/officeDocument/2006/relationships/image" Target="../media/image9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53.bin"/><Relationship Id="rId9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500.xml"/><Relationship Id="rId18" Type="http://schemas.openxmlformats.org/officeDocument/2006/relationships/tags" Target="../tags/tag505.xml"/><Relationship Id="rId26" Type="http://schemas.openxmlformats.org/officeDocument/2006/relationships/tags" Target="../tags/tag513.xml"/><Relationship Id="rId3" Type="http://schemas.openxmlformats.org/officeDocument/2006/relationships/tags" Target="../tags/tag490.xml"/><Relationship Id="rId21" Type="http://schemas.openxmlformats.org/officeDocument/2006/relationships/tags" Target="../tags/tag508.xml"/><Relationship Id="rId34" Type="http://schemas.openxmlformats.org/officeDocument/2006/relationships/oleObject" Target="../embeddings/oleObject54.bin"/><Relationship Id="rId7" Type="http://schemas.openxmlformats.org/officeDocument/2006/relationships/tags" Target="../tags/tag494.xml"/><Relationship Id="rId12" Type="http://schemas.openxmlformats.org/officeDocument/2006/relationships/tags" Target="../tags/tag499.xml"/><Relationship Id="rId17" Type="http://schemas.openxmlformats.org/officeDocument/2006/relationships/tags" Target="../tags/tag504.xml"/><Relationship Id="rId25" Type="http://schemas.openxmlformats.org/officeDocument/2006/relationships/tags" Target="../tags/tag512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489.xml"/><Relationship Id="rId16" Type="http://schemas.openxmlformats.org/officeDocument/2006/relationships/tags" Target="../tags/tag503.xml"/><Relationship Id="rId20" Type="http://schemas.openxmlformats.org/officeDocument/2006/relationships/tags" Target="../tags/tag507.xml"/><Relationship Id="rId29" Type="http://schemas.openxmlformats.org/officeDocument/2006/relationships/tags" Target="../tags/tag516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11" Type="http://schemas.openxmlformats.org/officeDocument/2006/relationships/tags" Target="../tags/tag498.xml"/><Relationship Id="rId24" Type="http://schemas.openxmlformats.org/officeDocument/2006/relationships/tags" Target="../tags/tag511.xml"/><Relationship Id="rId32" Type="http://schemas.openxmlformats.org/officeDocument/2006/relationships/slideLayout" Target="../slideLayouts/slideLayout17.xml"/><Relationship Id="rId5" Type="http://schemas.openxmlformats.org/officeDocument/2006/relationships/tags" Target="../tags/tag492.xml"/><Relationship Id="rId15" Type="http://schemas.openxmlformats.org/officeDocument/2006/relationships/tags" Target="../tags/tag502.xml"/><Relationship Id="rId23" Type="http://schemas.openxmlformats.org/officeDocument/2006/relationships/tags" Target="../tags/tag510.xml"/><Relationship Id="rId28" Type="http://schemas.openxmlformats.org/officeDocument/2006/relationships/tags" Target="../tags/tag515.xml"/><Relationship Id="rId10" Type="http://schemas.openxmlformats.org/officeDocument/2006/relationships/tags" Target="../tags/tag497.xml"/><Relationship Id="rId19" Type="http://schemas.openxmlformats.org/officeDocument/2006/relationships/tags" Target="../tags/tag506.xml"/><Relationship Id="rId31" Type="http://schemas.openxmlformats.org/officeDocument/2006/relationships/tags" Target="../tags/tag518.xml"/><Relationship Id="rId4" Type="http://schemas.openxmlformats.org/officeDocument/2006/relationships/tags" Target="../tags/tag491.xml"/><Relationship Id="rId9" Type="http://schemas.openxmlformats.org/officeDocument/2006/relationships/tags" Target="../tags/tag496.xml"/><Relationship Id="rId14" Type="http://schemas.openxmlformats.org/officeDocument/2006/relationships/tags" Target="../tags/tag501.xml"/><Relationship Id="rId22" Type="http://schemas.openxmlformats.org/officeDocument/2006/relationships/tags" Target="../tags/tag509.xml"/><Relationship Id="rId27" Type="http://schemas.openxmlformats.org/officeDocument/2006/relationships/tags" Target="../tags/tag514.xml"/><Relationship Id="rId30" Type="http://schemas.openxmlformats.org/officeDocument/2006/relationships/tags" Target="../tags/tag517.xml"/><Relationship Id="rId35" Type="http://schemas.openxmlformats.org/officeDocument/2006/relationships/image" Target="../media/image9.emf"/><Relationship Id="rId8" Type="http://schemas.openxmlformats.org/officeDocument/2006/relationships/tags" Target="../tags/tag495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31.xml"/><Relationship Id="rId18" Type="http://schemas.openxmlformats.org/officeDocument/2006/relationships/tags" Target="../tags/tag536.xml"/><Relationship Id="rId26" Type="http://schemas.openxmlformats.org/officeDocument/2006/relationships/tags" Target="../tags/tag544.xml"/><Relationship Id="rId39" Type="http://schemas.openxmlformats.org/officeDocument/2006/relationships/oleObject" Target="../embeddings/oleObject55.bin"/><Relationship Id="rId21" Type="http://schemas.openxmlformats.org/officeDocument/2006/relationships/tags" Target="../tags/tag539.xml"/><Relationship Id="rId34" Type="http://schemas.openxmlformats.org/officeDocument/2006/relationships/tags" Target="../tags/tag552.xml"/><Relationship Id="rId7" Type="http://schemas.openxmlformats.org/officeDocument/2006/relationships/tags" Target="../tags/tag525.xml"/><Relationship Id="rId12" Type="http://schemas.openxmlformats.org/officeDocument/2006/relationships/tags" Target="../tags/tag530.xml"/><Relationship Id="rId17" Type="http://schemas.openxmlformats.org/officeDocument/2006/relationships/tags" Target="../tags/tag535.xml"/><Relationship Id="rId25" Type="http://schemas.openxmlformats.org/officeDocument/2006/relationships/tags" Target="../tags/tag543.xml"/><Relationship Id="rId33" Type="http://schemas.openxmlformats.org/officeDocument/2006/relationships/tags" Target="../tags/tag551.xml"/><Relationship Id="rId38" Type="http://schemas.openxmlformats.org/officeDocument/2006/relationships/notesSlide" Target="../notesSlides/notesSlide6.xml"/><Relationship Id="rId2" Type="http://schemas.openxmlformats.org/officeDocument/2006/relationships/tags" Target="../tags/tag520.xml"/><Relationship Id="rId16" Type="http://schemas.openxmlformats.org/officeDocument/2006/relationships/tags" Target="../tags/tag534.xml"/><Relationship Id="rId20" Type="http://schemas.openxmlformats.org/officeDocument/2006/relationships/tags" Target="../tags/tag538.xml"/><Relationship Id="rId29" Type="http://schemas.openxmlformats.org/officeDocument/2006/relationships/tags" Target="../tags/tag547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tags" Target="../tags/tag529.xml"/><Relationship Id="rId24" Type="http://schemas.openxmlformats.org/officeDocument/2006/relationships/tags" Target="../tags/tag542.xml"/><Relationship Id="rId32" Type="http://schemas.openxmlformats.org/officeDocument/2006/relationships/tags" Target="../tags/tag550.xml"/><Relationship Id="rId37" Type="http://schemas.openxmlformats.org/officeDocument/2006/relationships/slideLayout" Target="../slideLayouts/slideLayout17.xml"/><Relationship Id="rId40" Type="http://schemas.openxmlformats.org/officeDocument/2006/relationships/image" Target="../media/image9.emf"/><Relationship Id="rId5" Type="http://schemas.openxmlformats.org/officeDocument/2006/relationships/tags" Target="../tags/tag523.xml"/><Relationship Id="rId15" Type="http://schemas.openxmlformats.org/officeDocument/2006/relationships/tags" Target="../tags/tag533.xml"/><Relationship Id="rId23" Type="http://schemas.openxmlformats.org/officeDocument/2006/relationships/tags" Target="../tags/tag541.xml"/><Relationship Id="rId28" Type="http://schemas.openxmlformats.org/officeDocument/2006/relationships/tags" Target="../tags/tag546.xml"/><Relationship Id="rId36" Type="http://schemas.openxmlformats.org/officeDocument/2006/relationships/tags" Target="../tags/tag554.xml"/><Relationship Id="rId10" Type="http://schemas.openxmlformats.org/officeDocument/2006/relationships/tags" Target="../tags/tag528.xml"/><Relationship Id="rId19" Type="http://schemas.openxmlformats.org/officeDocument/2006/relationships/tags" Target="../tags/tag537.xml"/><Relationship Id="rId31" Type="http://schemas.openxmlformats.org/officeDocument/2006/relationships/tags" Target="../tags/tag549.xml"/><Relationship Id="rId4" Type="http://schemas.openxmlformats.org/officeDocument/2006/relationships/tags" Target="../tags/tag522.xml"/><Relationship Id="rId9" Type="http://schemas.openxmlformats.org/officeDocument/2006/relationships/tags" Target="../tags/tag527.xml"/><Relationship Id="rId14" Type="http://schemas.openxmlformats.org/officeDocument/2006/relationships/tags" Target="../tags/tag532.xml"/><Relationship Id="rId22" Type="http://schemas.openxmlformats.org/officeDocument/2006/relationships/tags" Target="../tags/tag540.xml"/><Relationship Id="rId27" Type="http://schemas.openxmlformats.org/officeDocument/2006/relationships/tags" Target="../tags/tag545.xml"/><Relationship Id="rId30" Type="http://schemas.openxmlformats.org/officeDocument/2006/relationships/tags" Target="../tags/tag548.xml"/><Relationship Id="rId35" Type="http://schemas.openxmlformats.org/officeDocument/2006/relationships/tags" Target="../tags/tag553.xml"/><Relationship Id="rId8" Type="http://schemas.openxmlformats.org/officeDocument/2006/relationships/tags" Target="../tags/tag526.xml"/><Relationship Id="rId3" Type="http://schemas.openxmlformats.org/officeDocument/2006/relationships/tags" Target="../tags/tag5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54" name="Picture 14">
            <a:extLst>
              <a:ext uri="{FF2B5EF4-FFF2-40B4-BE49-F238E27FC236}">
                <a16:creationId xmlns:a16="http://schemas.microsoft.com/office/drawing/2014/main" id="{84062463-3E9C-494B-954C-A80BD1087D5D}"/>
              </a:ext>
            </a:extLst>
          </p:cNvPr>
          <p:cNvPicPr>
            <a:picLocks noChangeArrowheads="1"/>
          </p:cNvPicPr>
          <p:nvPr/>
        </p:nvPicPr>
        <p:blipFill>
          <a:blip r:embed="rId11"/>
          <a:srcRect/>
          <a:stretch/>
        </p:blipFill>
        <p:spPr bwMode="auto">
          <a:xfrm flipH="1">
            <a:off x="3176" y="894"/>
            <a:ext cx="12188823" cy="68562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0A30085-116B-499E-9AAC-22E4F454ADB6}"/>
              </a:ext>
            </a:extLst>
          </p:cNvPr>
          <p:cNvSpPr>
            <a:spLocks/>
          </p:cNvSpPr>
          <p:nvPr/>
        </p:nvSpPr>
        <p:spPr>
          <a:xfrm>
            <a:off x="3177" y="-894"/>
            <a:ext cx="12188823" cy="6858000"/>
          </a:xfrm>
          <a:prstGeom prst="rect">
            <a:avLst/>
          </a:prstGeom>
          <a:solidFill>
            <a:srgbClr val="04080A">
              <a:alpha val="66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3" y="4209423"/>
            <a:ext cx="10018088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dirty="0"/>
              <a:t>How Data &amp; AI can help detect Methane emissions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11D06D31-577C-468F-A315-4B1A48E07A2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551943" y="5744142"/>
            <a:ext cx="5313150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800" dirty="0"/>
              <a:t>Mai, 2023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A8C7E261-2CEA-4586-910D-06880C0F6E5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1943" y="1480465"/>
            <a:ext cx="1001808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Centrale - </a:t>
            </a:r>
            <a:r>
              <a:rPr kumimoji="0" lang="en-US" sz="4400" b="1" i="0" u="none" strike="noStrike" kern="1200" cap="none" spc="0" normalizeH="0" baseline="0" noProof="0" dirty="0" err="1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Essec</a:t>
            </a:r>
            <a:endParaRPr kumimoji="0" lang="en-US" sz="44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Tech Challen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7337C3DD-1C08-45CB-94B2-FEC9E5EF6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00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95" imgH="396" progId="TCLayout.ActiveDocument.1">
                  <p:embed/>
                </p:oleObj>
              </mc:Choice>
              <mc:Fallback>
                <p:oleObj name="think-cell Slide" r:id="rId33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922" name="Rectangle 3">
            <a:extLst>
              <a:ext uri="{FF2B5EF4-FFF2-40B4-BE49-F238E27FC236}">
                <a16:creationId xmlns:a16="http://schemas.microsoft.com/office/drawing/2014/main" id="{84EFF1A0-BE41-4946-A2F4-39F674C6F59C}"/>
              </a:ext>
            </a:extLst>
          </p:cNvPr>
          <p:cNvPicPr>
            <a:picLocks noChangeArrowheads="1"/>
          </p:cNvPicPr>
          <p:nvPr/>
        </p:nvPicPr>
        <p:blipFill>
          <a:blip r:embed="rId3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3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3">
            <a:extLst>
              <a:ext uri="{FF2B5EF4-FFF2-40B4-BE49-F238E27FC236}">
                <a16:creationId xmlns:a16="http://schemas.microsoft.com/office/drawing/2014/main" id="{C62626CD-EBE3-4CCF-AEC6-764161FCE86A}"/>
              </a:ext>
            </a:extLst>
          </p:cNvPr>
          <p:cNvSpPr>
            <a:spLocks/>
          </p:cNvSpPr>
          <p:nvPr/>
        </p:nvSpPr>
        <p:spPr>
          <a:xfrm>
            <a:off x="3177" y="7759"/>
            <a:ext cx="12188823" cy="6858000"/>
          </a:xfrm>
          <a:prstGeom prst="rect">
            <a:avLst/>
          </a:prstGeom>
          <a:solidFill>
            <a:srgbClr val="04080A">
              <a:alpha val="7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EC2C56-61DC-43D3-FE43-4EECD28837E2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fr-FR" dirty="0"/>
              <a:t>Agend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0E4D36F8-2645-492F-874B-5AB7029A59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B06B1-E725-403B-B221-89F65B349F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3CB8BA-E5A5-D9B6-AE60-7D7CEF0BAEED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2077155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4C9B605-1E9A-C98C-7E4C-5F5D2DEFA52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648637"/>
            <a:ext cx="2573626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70CFDB3-7B99-C4F0-6E21-91CEB54B2EE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2229960"/>
            <a:ext cx="2835954" cy="7540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200" b="1" dirty="0">
                <a:solidFill>
                  <a:srgbClr val="FFFFFF"/>
                </a:solidFill>
                <a:latin typeface="Arial"/>
              </a:rPr>
              <a:t>Friday 12 Ma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200" i="1" dirty="0">
                <a:solidFill>
                  <a:srgbClr val="FFFFFF"/>
                </a:solidFill>
                <a:latin typeface="Arial"/>
              </a:rPr>
              <a:t>ESSEC Campus</a:t>
            </a:r>
            <a:endParaRPr kumimoji="0" lang="fr-FR" sz="220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LineBasicVerticalDefault 26">
            <a:extLst>
              <a:ext uri="{FF2B5EF4-FFF2-40B4-BE49-F238E27FC236}">
                <a16:creationId xmlns:a16="http://schemas.microsoft.com/office/drawing/2014/main" id="{3E18A88D-8D6F-4B48-917B-676717F5DEE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690337" y="2145144"/>
            <a:ext cx="0" cy="827146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LineBasicDefault 36">
            <a:extLst>
              <a:ext uri="{FF2B5EF4-FFF2-40B4-BE49-F238E27FC236}">
                <a16:creationId xmlns:a16="http://schemas.microsoft.com/office/drawing/2014/main" id="{99DDC6E9-C968-4609-A8FE-5CA36A78B99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6" y="3044507"/>
            <a:ext cx="1108252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6A78B3F-FCF7-FA06-E444-DAC0D3BF6F1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3657136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0892A304-9D04-92D5-50E8-1D0545DFA5B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54736" y="3809562"/>
            <a:ext cx="2835954" cy="7540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uesday 16 Ma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200" i="1" dirty="0">
                <a:solidFill>
                  <a:srgbClr val="FFFFFF"/>
                </a:solidFill>
                <a:latin typeface="Arial"/>
              </a:rPr>
              <a:t>McKinsey XP Studio</a:t>
            </a:r>
            <a:endParaRPr kumimoji="0" lang="fr-FR" sz="220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7" name="LineBasicVerticalDefault 26">
            <a:extLst>
              <a:ext uri="{FF2B5EF4-FFF2-40B4-BE49-F238E27FC236}">
                <a16:creationId xmlns:a16="http://schemas.microsoft.com/office/drawing/2014/main" id="{87AC50B7-F568-4475-AB33-55F87207F8D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690337" y="3809562"/>
            <a:ext cx="0" cy="2145663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36">
            <a:extLst>
              <a:ext uri="{FF2B5EF4-FFF2-40B4-BE49-F238E27FC236}">
                <a16:creationId xmlns:a16="http://schemas.microsoft.com/office/drawing/2014/main" id="{B406CDC2-504A-4273-9F4A-01E0D2A15D7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973225" y="4269765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LineBasicDefault 36">
            <a:extLst>
              <a:ext uri="{FF2B5EF4-FFF2-40B4-BE49-F238E27FC236}">
                <a16:creationId xmlns:a16="http://schemas.microsoft.com/office/drawing/2014/main" id="{F8019DA5-060B-4413-AEDA-C720EB82DB5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3973225" y="4882394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LineBasicDefault 36">
            <a:extLst>
              <a:ext uri="{FF2B5EF4-FFF2-40B4-BE49-F238E27FC236}">
                <a16:creationId xmlns:a16="http://schemas.microsoft.com/office/drawing/2014/main" id="{0116DA1F-CEA7-4925-A127-8828ED986900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3973225" y="5495023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8C37BF2F-0FC1-4D1D-8FDD-09A75F110D5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54736" y="3111043"/>
            <a:ext cx="2835954" cy="39366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ek-end / Monday</a:t>
            </a:r>
          </a:p>
        </p:txBody>
      </p:sp>
      <p:cxnSp>
        <p:nvCxnSpPr>
          <p:cNvPr id="80" name="LineBasicVerticalDefault 26">
            <a:extLst>
              <a:ext uri="{FF2B5EF4-FFF2-40B4-BE49-F238E27FC236}">
                <a16:creationId xmlns:a16="http://schemas.microsoft.com/office/drawing/2014/main" id="{BE1237AB-2B2F-41E8-9B5A-CD000414762D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3690337" y="3111044"/>
            <a:ext cx="0" cy="393666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C9E6A1B-AF69-FE6C-E51D-8A436D433A0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3973225" y="1648637"/>
            <a:ext cx="159866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134D06-2D9C-2C16-9457-6F68FB9C3B9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6315075" y="1648637"/>
            <a:ext cx="5322189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vit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A48EB68-AB17-4F37-9F56-7903AAD34BA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3973226" y="2420182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000" dirty="0">
                <a:latin typeface="Arial"/>
              </a:rPr>
              <a:t>16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30-17h3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7711338-B6EB-B894-0B89-940F46A403B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3973226" y="4422191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h15-20h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71D09A6-6F05-57B2-0DB7-B12161EC9398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3973226" y="5647448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0h3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81B450-CCA7-2FF5-E803-64AC085AFB8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3973226" y="5034820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0h-20h3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262B2CA-564B-4F00-B427-53DF3B68BB5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6315075" y="2420182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ch challenge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esentation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Q&amp;A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5A43692-23C4-E306-7098-6F54A528845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6315075" y="4422191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am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esentations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9 x 10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AA13347-BDDE-0382-9989-FE40250B5B1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6315075" y="5034820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pproach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to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thane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missions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36393D2-B25C-1D79-3B79-17C3BEE12F7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6315075" y="5647448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allenge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sults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ward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har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4BA34F-61E2-6F83-C1E7-BD4843CBCBF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3973226" y="3809562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h-18h3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AF2A76-C73B-6638-AA9B-28991ADF3A9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6315075" y="3809562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lcome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</a:t>
            </a:r>
            <a:r>
              <a:rPr kumimoji="0" lang="fr-FR" sz="20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938312E-80E9-44F4-B999-36CE7707D6A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6315075" y="3196933"/>
            <a:ext cx="5322189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am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</a:t>
            </a:r>
            <a:r>
              <a:rPr lang="fr-FR" sz="2000" dirty="0" err="1">
                <a:latin typeface="Arial"/>
              </a:rPr>
              <a:t>Including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oaches suppor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D07512B-F5C0-46C6-82C5-5406487A1D8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3973226" y="3196933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.A</a:t>
            </a:r>
          </a:p>
        </p:txBody>
      </p:sp>
      <p:sp>
        <p:nvSpPr>
          <p:cNvPr id="46" name="SlideLogoText">
            <a:extLst>
              <a:ext uri="{FF2B5EF4-FFF2-40B4-BE49-F238E27FC236}">
                <a16:creationId xmlns:a16="http://schemas.microsoft.com/office/drawing/2014/main" id="{9B5D5C17-89AF-4C1A-A5FF-B024BC1CBB88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9587101" y="6240848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0384310-2C3A-42AB-A6D6-D513E38A88B4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black">
          <a:xfrm>
            <a:off x="11312525" y="6240848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451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D6470473-B32C-487C-A030-140EB68DD5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D6470473-B32C-487C-A030-140EB68DD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46197D-0429-4E9E-8DDE-F949BE4B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139C39-CC02-AD06-C2EB-E0F14C4DC5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102620" y="1063642"/>
            <a:ext cx="6534644" cy="39626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Clean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we’re a fast-growing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tart-up specialized in Methane emissions report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Our founders team met for the first time in 2020 in Geneva. Today, we count already 50 team memb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r mission is to help diminish </a:t>
            </a:r>
            <a:r>
              <a:rPr lang="en-US" sz="2000" dirty="0">
                <a:solidFill>
                  <a:srgbClr val="FFFFFF"/>
                </a:solidFill>
                <a:latin typeface="Arial"/>
              </a:rPr>
              <a:t>Methane emissions by providing a clear method for MRV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nitoring, reporting and verification</a:t>
            </a:r>
            <a:r>
              <a:rPr lang="en-US" sz="2000" noProof="0" dirty="0">
                <a:solidFill>
                  <a:srgbClr val="FFFFFF"/>
                </a:solidFill>
                <a:latin typeface="Arial"/>
              </a:rPr>
              <a:t>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ree ingredients are crucial to our work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r talented people, satellite images and deep learning!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eanR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E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Co-founder</a:t>
            </a:r>
          </a:p>
        </p:txBody>
      </p:sp>
      <p:grpSp>
        <p:nvGrpSpPr>
          <p:cNvPr id="18" name="QuotationMarksWhite 18">
            <a:extLst>
              <a:ext uri="{FF2B5EF4-FFF2-40B4-BE49-F238E27FC236}">
                <a16:creationId xmlns:a16="http://schemas.microsoft.com/office/drawing/2014/main" id="{7BE64976-94A0-4387-BE88-15FAF2EF96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4584840" y="1017922"/>
            <a:ext cx="396228" cy="396228"/>
            <a:chOff x="1016000" y="1016000"/>
            <a:chExt cx="396228" cy="396228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717ADE9-7828-4AAA-8283-58964229839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C3C4ADAD-C92E-4527-BC29-996651103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30" name="Rectangle 3">
            <a:extLst>
              <a:ext uri="{FF2B5EF4-FFF2-40B4-BE49-F238E27FC236}">
                <a16:creationId xmlns:a16="http://schemas.microsoft.com/office/drawing/2014/main" id="{8E7A9277-ABCD-4F8F-B874-D962207AF437}"/>
              </a:ext>
            </a:extLst>
          </p:cNvPr>
          <p:cNvSpPr>
            <a:spLocks/>
          </p:cNvSpPr>
          <p:nvPr/>
        </p:nvSpPr>
        <p:spPr>
          <a:xfrm>
            <a:off x="0" y="21246"/>
            <a:ext cx="4371530" cy="6816403"/>
          </a:xfrm>
          <a:prstGeom prst="rect">
            <a:avLst/>
          </a:prstGeom>
          <a:solidFill>
            <a:schemeClr val="tx1">
              <a:lumMod val="95000"/>
              <a:alpha val="39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2. Slide Title">
            <a:extLst>
              <a:ext uri="{FF2B5EF4-FFF2-40B4-BE49-F238E27FC236}">
                <a16:creationId xmlns:a16="http://schemas.microsoft.com/office/drawing/2014/main" id="{BDF7F037-B437-46B0-848C-28596987FC5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1063642"/>
            <a:ext cx="3465576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Arial" panose="020B0604020202020204" pitchFamily="34" charset="0"/>
              </a:rPr>
              <a:t>CleanR</a:t>
            </a: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32" name="QuotationMarksWhite 18">
            <a:extLst>
              <a:ext uri="{FF2B5EF4-FFF2-40B4-BE49-F238E27FC236}">
                <a16:creationId xmlns:a16="http://schemas.microsoft.com/office/drawing/2014/main" id="{F2A155C0-9CD2-4490-8D53-84124CE1937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4584840" y="2728266"/>
            <a:ext cx="396228" cy="396228"/>
            <a:chOff x="1016000" y="1016000"/>
            <a:chExt cx="396228" cy="39622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6802AB7-B5C0-4FDE-83D2-F55935D032AB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627E3AAA-0347-4522-91E1-D885508DC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5" name="QuotationMarksWhite 18">
            <a:extLst>
              <a:ext uri="{FF2B5EF4-FFF2-40B4-BE49-F238E27FC236}">
                <a16:creationId xmlns:a16="http://schemas.microsoft.com/office/drawing/2014/main" id="{09F8BBCE-806B-43E2-9BF7-EBA8D881E85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584840" y="4438610"/>
            <a:ext cx="396228" cy="396228"/>
            <a:chOff x="1016000" y="1016000"/>
            <a:chExt cx="396228" cy="39622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34BE3A6-3AC0-4281-9C69-418B71CBB37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EB6B539A-1165-41E3-87F8-ACDB358A5F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4F4DED2-6B1E-AF2A-A3C7-433FDE20CE3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2856"/>
          <a:stretch/>
        </p:blipFill>
        <p:spPr>
          <a:xfrm rot="1102619">
            <a:off x="293825" y="1177998"/>
            <a:ext cx="4759133" cy="5602305"/>
          </a:xfrm>
          <a:custGeom>
            <a:avLst/>
            <a:gdLst>
              <a:gd name="connsiteX0" fmla="*/ 0 w 4759133"/>
              <a:gd name="connsiteY0" fmla="*/ 0 h 5602305"/>
              <a:gd name="connsiteX1" fmla="*/ 3477506 w 4759133"/>
              <a:gd name="connsiteY1" fmla="*/ 0 h 5602305"/>
              <a:gd name="connsiteX2" fmla="*/ 3256413 w 4759133"/>
              <a:gd name="connsiteY2" fmla="*/ 73449 h 5602305"/>
              <a:gd name="connsiteX3" fmla="*/ 3738219 w 4759133"/>
              <a:gd name="connsiteY3" fmla="*/ 1523756 h 5602305"/>
              <a:gd name="connsiteX4" fmla="*/ 4558387 w 4759133"/>
              <a:gd name="connsiteY4" fmla="*/ 1251288 h 5602305"/>
              <a:gd name="connsiteX5" fmla="*/ 4142698 w 4759133"/>
              <a:gd name="connsiteY5" fmla="*/ 0 h 5602305"/>
              <a:gd name="connsiteX6" fmla="*/ 4759133 w 4759133"/>
              <a:gd name="connsiteY6" fmla="*/ 0 h 5602305"/>
              <a:gd name="connsiteX7" fmla="*/ 4759133 w 4759133"/>
              <a:gd name="connsiteY7" fmla="*/ 5602305 h 5602305"/>
              <a:gd name="connsiteX8" fmla="*/ 0 w 4759133"/>
              <a:gd name="connsiteY8" fmla="*/ 5602305 h 5602305"/>
              <a:gd name="connsiteX9" fmla="*/ 0 w 4759133"/>
              <a:gd name="connsiteY9" fmla="*/ 0 h 5602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59133" h="5602305">
                <a:moveTo>
                  <a:pt x="0" y="0"/>
                </a:moveTo>
                <a:lnTo>
                  <a:pt x="3477506" y="0"/>
                </a:lnTo>
                <a:lnTo>
                  <a:pt x="3256413" y="73449"/>
                </a:lnTo>
                <a:lnTo>
                  <a:pt x="3738219" y="1523756"/>
                </a:lnTo>
                <a:lnTo>
                  <a:pt x="4558387" y="1251288"/>
                </a:lnTo>
                <a:lnTo>
                  <a:pt x="4142698" y="0"/>
                </a:lnTo>
                <a:lnTo>
                  <a:pt x="4759133" y="0"/>
                </a:lnTo>
                <a:lnTo>
                  <a:pt x="4759133" y="5602305"/>
                </a:lnTo>
                <a:lnTo>
                  <a:pt x="0" y="5602305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8351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D6470473-B32C-487C-A030-140EB68DD5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622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D6470473-B32C-487C-A030-140EB68DD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29" name="Picture 9">
            <a:extLst>
              <a:ext uri="{FF2B5EF4-FFF2-40B4-BE49-F238E27FC236}">
                <a16:creationId xmlns:a16="http://schemas.microsoft.com/office/drawing/2014/main" id="{E6340E7A-7450-431D-AEBE-2DA9AB1EFDA2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/>
          <a:srcRect b="7821"/>
          <a:stretch/>
        </p:blipFill>
        <p:spPr bwMode="auto">
          <a:xfrm>
            <a:off x="-27155" y="-1"/>
            <a:ext cx="441126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897A06A-61AF-4C12-87CF-5B13D9CE1C7D}"/>
              </a:ext>
            </a:extLst>
          </p:cNvPr>
          <p:cNvSpPr txBox="1"/>
          <p:nvPr/>
        </p:nvSpPr>
        <p:spPr>
          <a:xfrm>
            <a:off x="4936236" y="1030749"/>
            <a:ext cx="6698552" cy="29392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 are hiring a new data science team to help us </a:t>
            </a:r>
            <a:r>
              <a:rPr lang="en-US" sz="2000" b="1" dirty="0">
                <a:solidFill>
                  <a:srgbClr val="FFFFFF"/>
                </a:solidFill>
                <a:latin typeface="Arial"/>
              </a:rPr>
              <a:t>localize methane leaks in the atmosphe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 have already gathere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tellite image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[data set – </a:t>
            </a:r>
            <a:r>
              <a:rPr lang="en-US" sz="2000" dirty="0">
                <a:solidFill>
                  <a:srgbClr val="00A9F4"/>
                </a:solidFill>
                <a:latin typeface="Arial"/>
              </a:rPr>
              <a:t>64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x </a:t>
            </a:r>
            <a:r>
              <a:rPr lang="en-US" sz="2000" dirty="0">
                <a:solidFill>
                  <a:srgbClr val="00A9F4"/>
                </a:solidFill>
                <a:latin typeface="Arial"/>
              </a:rPr>
              <a:t>64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mages in greyscale]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different locatio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and we need to identify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ether each location contains a methane plume or no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We also want the team to help us find use cases where this model can be used to drive positive impact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A9F4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eanR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hief Analytics Officer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26C93708-9A9D-4E44-AC1D-3441D644A4FE}"/>
              </a:ext>
            </a:extLst>
          </p:cNvPr>
          <p:cNvSpPr>
            <a:spLocks/>
          </p:cNvSpPr>
          <p:nvPr/>
        </p:nvSpPr>
        <p:spPr>
          <a:xfrm>
            <a:off x="-23194" y="6111"/>
            <a:ext cx="4381500" cy="6858000"/>
          </a:xfrm>
          <a:prstGeom prst="rect">
            <a:avLst/>
          </a:prstGeom>
          <a:solidFill>
            <a:schemeClr val="tx1">
              <a:alpha val="41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54440F-9919-4736-ABA0-199836382215}"/>
              </a:ext>
            </a:extLst>
          </p:cNvPr>
          <p:cNvSpPr txBox="1"/>
          <p:nvPr/>
        </p:nvSpPr>
        <p:spPr>
          <a:xfrm>
            <a:off x="7156244" y="5912276"/>
            <a:ext cx="229268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ample of satellite image with a plume of methane</a:t>
            </a:r>
          </a:p>
        </p:txBody>
      </p:sp>
      <p:grpSp>
        <p:nvGrpSpPr>
          <p:cNvPr id="12" name="QuotationMarksBlue 12">
            <a:extLst>
              <a:ext uri="{FF2B5EF4-FFF2-40B4-BE49-F238E27FC236}">
                <a16:creationId xmlns:a16="http://schemas.microsoft.com/office/drawing/2014/main" id="{F746EB37-2F5F-4D79-9230-932DF436643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936236" y="445949"/>
            <a:ext cx="396228" cy="396228"/>
            <a:chOff x="1016000" y="1016000"/>
            <a:chExt cx="396228" cy="396228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E5CA963-0B9D-4414-AA7E-0321BC02C92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E8E94AA3-EAF2-44E0-A05C-E94BDEC98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4" name="2. Slide Title">
            <a:extLst>
              <a:ext uri="{FF2B5EF4-FFF2-40B4-BE49-F238E27FC236}">
                <a16:creationId xmlns:a16="http://schemas.microsoft.com/office/drawing/2014/main" id="{BD90CCD0-B8EA-D598-5106-052872C9648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2687" y="719843"/>
            <a:ext cx="3674364" cy="55399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3600" dirty="0">
                <a:ln>
                  <a:noFill/>
                </a:ln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Announcement</a:t>
            </a:r>
          </a:p>
        </p:txBody>
      </p:sp>
      <p:sp>
        <p:nvSpPr>
          <p:cNvPr id="17" name="Sticky">
            <a:extLst>
              <a:ext uri="{FF2B5EF4-FFF2-40B4-BE49-F238E27FC236}">
                <a16:creationId xmlns:a16="http://schemas.microsoft.com/office/drawing/2014/main" id="{9A077F91-C978-4FC8-9653-9180A16CD0D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349109" y="158750"/>
            <a:ext cx="1905000" cy="411899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64943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000000"/>
                </a:solidFill>
              </a:rPr>
              <a:t>Reda</a:t>
            </a: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B74858-08F3-5B14-DC46-061F405506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76245" y="4214949"/>
            <a:ext cx="1591590" cy="15915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76633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A87E4038-18AD-40C0-9C47-093AECB9C2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15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A87E4038-18AD-40C0-9C47-093AECB9C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BB90B119-17C4-4647-B607-85F0F9B3ECA5}"/>
              </a:ext>
            </a:extLst>
          </p:cNvPr>
          <p:cNvPicPr>
            <a:picLocks/>
          </p:cNvPicPr>
          <p:nvPr/>
        </p:nvPicPr>
        <p:blipFill rotWithShape="1"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48" b="10748"/>
          <a:stretch/>
        </p:blipFill>
        <p:spPr>
          <a:xfrm>
            <a:off x="3176" y="0"/>
            <a:ext cx="4360082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2D54876-50B9-479B-AF2F-C19FF0A07823}"/>
              </a:ext>
            </a:extLst>
          </p:cNvPr>
          <p:cNvSpPr>
            <a:spLocks/>
          </p:cNvSpPr>
          <p:nvPr/>
        </p:nvSpPr>
        <p:spPr>
          <a:xfrm>
            <a:off x="3176" y="0"/>
            <a:ext cx="4360082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F68EFD-801D-6FEF-E7EF-93B1ED3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91" y="2653361"/>
            <a:ext cx="3917709" cy="1661993"/>
          </a:xfrm>
        </p:spPr>
        <p:txBody>
          <a:bodyPr vert="horz" wrap="square" anchor="t">
            <a:spAutoFit/>
          </a:bodyPr>
          <a:lstStyle/>
          <a:p>
            <a:pPr>
              <a:buClr>
                <a:schemeClr val="tx2"/>
              </a:buClr>
            </a:pPr>
            <a:r>
              <a:rPr lang="fr-FR" sz="3600" dirty="0">
                <a:solidFill>
                  <a:schemeClr val="tx2"/>
                </a:solidFill>
              </a:rPr>
              <a:t>To help </a:t>
            </a:r>
            <a:r>
              <a:rPr lang="fr-FR" sz="3600" dirty="0" err="1">
                <a:solidFill>
                  <a:schemeClr val="tx2"/>
                </a:solidFill>
              </a:rPr>
              <a:t>CleanR</a:t>
            </a:r>
            <a:r>
              <a:rPr lang="fr-FR" sz="3600" dirty="0">
                <a:solidFill>
                  <a:schemeClr val="tx2"/>
                </a:solidFill>
              </a:rPr>
              <a:t>, </a:t>
            </a:r>
            <a:r>
              <a:rPr lang="fr-FR" sz="3600" dirty="0" err="1">
                <a:solidFill>
                  <a:schemeClr val="tx2"/>
                </a:solidFill>
              </a:rPr>
              <a:t>please</a:t>
            </a:r>
            <a:r>
              <a:rPr lang="fr-FR" sz="3600" dirty="0">
                <a:solidFill>
                  <a:schemeClr val="tx2"/>
                </a:solidFill>
              </a:rPr>
              <a:t> </a:t>
            </a:r>
            <a:r>
              <a:rPr lang="fr-FR" sz="3600" dirty="0" err="1">
                <a:solidFill>
                  <a:schemeClr val="tx2"/>
                </a:solidFill>
              </a:rPr>
              <a:t>provide</a:t>
            </a:r>
            <a:r>
              <a:rPr lang="fr-FR" sz="3600" dirty="0">
                <a:solidFill>
                  <a:schemeClr val="tx2"/>
                </a:solidFill>
              </a:rPr>
              <a:t> ...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C909031-D964-49B4-BC33-00B2626712C6}"/>
              </a:ext>
            </a:extLst>
          </p:cNvPr>
          <p:cNvCxnSpPr>
            <a:cxnSpLocks/>
          </p:cNvCxnSpPr>
          <p:nvPr/>
        </p:nvCxnSpPr>
        <p:spPr>
          <a:xfrm>
            <a:off x="4612629" y="3903176"/>
            <a:ext cx="702215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F80F1B7-E9CF-488E-8A9A-6B3C97CFC230}"/>
              </a:ext>
            </a:extLst>
          </p:cNvPr>
          <p:cNvCxnSpPr>
            <a:cxnSpLocks/>
          </p:cNvCxnSpPr>
          <p:nvPr/>
        </p:nvCxnSpPr>
        <p:spPr>
          <a:xfrm>
            <a:off x="4612629" y="1098257"/>
            <a:ext cx="702215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C3B9374-A1BF-4CDF-B12B-AF50136CE794}"/>
              </a:ext>
            </a:extLst>
          </p:cNvPr>
          <p:cNvCxnSpPr>
            <a:cxnSpLocks/>
          </p:cNvCxnSpPr>
          <p:nvPr/>
        </p:nvCxnSpPr>
        <p:spPr>
          <a:xfrm>
            <a:off x="4612629" y="1981121"/>
            <a:ext cx="702215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9C389DF-2569-4F65-AC70-D93456FE23F1}"/>
              </a:ext>
            </a:extLst>
          </p:cNvPr>
          <p:cNvSpPr txBox="1">
            <a:spLocks/>
          </p:cNvSpPr>
          <p:nvPr/>
        </p:nvSpPr>
        <p:spPr>
          <a:xfrm>
            <a:off x="5244329" y="6139733"/>
            <a:ext cx="6223709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/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!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\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DO NOT change images nam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8ABDEA-8275-4F56-9698-A5FEDE75AA19}"/>
              </a:ext>
            </a:extLst>
          </p:cNvPr>
          <p:cNvSpPr txBox="1">
            <a:spLocks/>
          </p:cNvSpPr>
          <p:nvPr/>
        </p:nvSpPr>
        <p:spPr>
          <a:xfrm>
            <a:off x="5411079" y="364699"/>
            <a:ext cx="6223709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FFFFFF"/>
                </a:solidFill>
                <a:latin typeface="Arial"/>
              </a:rPr>
              <a:t>P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dicte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labels for the test se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[csv file]</a:t>
            </a:r>
          </a:p>
        </p:txBody>
      </p:sp>
      <p:pic>
        <p:nvPicPr>
          <p:cNvPr id="44" name="CustomIcon">
            <a:extLst>
              <a:ext uri="{FF2B5EF4-FFF2-40B4-BE49-F238E27FC236}">
                <a16:creationId xmlns:a16="http://schemas.microsoft.com/office/drawing/2014/main" id="{526FE716-1869-4A4A-8E8E-94C95FFBA08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12629" y="364699"/>
            <a:ext cx="609600" cy="6096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316B8EE-9A46-44F3-AD7B-7886D9EBE2B3}"/>
              </a:ext>
            </a:extLst>
          </p:cNvPr>
          <p:cNvSpPr txBox="1">
            <a:spLocks/>
          </p:cNvSpPr>
          <p:nvPr/>
        </p:nvSpPr>
        <p:spPr>
          <a:xfrm>
            <a:off x="5411079" y="1253516"/>
            <a:ext cx="6223709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odel code </a:t>
            </a:r>
            <a:r>
              <a:rPr lang="en-US" sz="2000" dirty="0">
                <a:solidFill>
                  <a:srgbClr val="00A9F4"/>
                </a:solidFill>
                <a:latin typeface="Arial" panose="020B0604020202020204" pitchFamily="34" charset="0"/>
                <a:sym typeface=""/>
              </a:rPr>
              <a:t>[G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ithu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 link or zip file]</a:t>
            </a:r>
          </a:p>
        </p:txBody>
      </p:sp>
      <p:pic>
        <p:nvPicPr>
          <p:cNvPr id="48" name="CustomIcon">
            <a:extLst>
              <a:ext uri="{FF2B5EF4-FFF2-40B4-BE49-F238E27FC236}">
                <a16:creationId xmlns:a16="http://schemas.microsoft.com/office/drawing/2014/main" id="{48A29023-98E9-4710-97FA-4A6BDD3454F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612629" y="1253516"/>
            <a:ext cx="609600" cy="609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4F0F0E-21AA-49F3-BDD0-843E5C2E08E8}"/>
              </a:ext>
            </a:extLst>
          </p:cNvPr>
          <p:cNvSpPr txBox="1">
            <a:spLocks/>
          </p:cNvSpPr>
          <p:nvPr/>
        </p:nvSpPr>
        <p:spPr>
          <a:xfrm>
            <a:off x="5411079" y="4021181"/>
            <a:ext cx="6223709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Pitch presentation 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[PPT – 10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m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]</a:t>
            </a:r>
          </a:p>
        </p:txBody>
      </p:sp>
      <p:pic>
        <p:nvPicPr>
          <p:cNvPr id="50" name="CustomIcon">
            <a:extLst>
              <a:ext uri="{FF2B5EF4-FFF2-40B4-BE49-F238E27FC236}">
                <a16:creationId xmlns:a16="http://schemas.microsoft.com/office/drawing/2014/main" id="{6A1C3FE6-7763-4DE7-A322-2D1F79916B8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612629" y="4021181"/>
            <a:ext cx="609600" cy="6096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63EA76-AE27-4C50-9052-544A425CE90F}"/>
              </a:ext>
            </a:extLst>
          </p:cNvPr>
          <p:cNvSpPr txBox="1">
            <a:spLocks/>
          </p:cNvSpPr>
          <p:nvPr/>
        </p:nvSpPr>
        <p:spPr>
          <a:xfrm>
            <a:off x="5411078" y="4446962"/>
            <a:ext cx="6223709" cy="1692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Scientific approach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Web App demo. If you didn’t develop a web app, you can present a mock-up instead.</a:t>
            </a:r>
          </a:p>
          <a:p>
            <a:pPr lvl="1">
              <a:buClr>
                <a:srgbClr val="FFFFFF"/>
              </a:buClr>
              <a:defRPr/>
            </a:pPr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How are you going to use your app to drive positive impact ?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"/>
            </a:endParaRP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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DE2156-1DBC-442B-AF9F-D3915CB0A1ED}"/>
              </a:ext>
            </a:extLst>
          </p:cNvPr>
          <p:cNvSpPr txBox="1">
            <a:spLocks/>
          </p:cNvSpPr>
          <p:nvPr/>
        </p:nvSpPr>
        <p:spPr>
          <a:xfrm>
            <a:off x="5411079" y="2099126"/>
            <a:ext cx="6223709" cy="157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Code of your web ap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including at least 2 features:</a:t>
            </a:r>
          </a:p>
          <a:p>
            <a:pPr marL="512064" marR="0" lvl="2" indent="-28346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—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Uploading satellite images </a:t>
            </a:r>
          </a:p>
          <a:p>
            <a:pPr marL="512064" marR="0" lvl="2" indent="-28346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—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Code execution to determine </a:t>
            </a:r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whether it contains plumes of metha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B8CCA78-9538-436F-BC2F-7752673FE5F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12629" y="2099126"/>
            <a:ext cx="609600" cy="609600"/>
          </a:xfrm>
          <a:prstGeom prst="rect">
            <a:avLst/>
          </a:prstGeom>
        </p:spPr>
      </p:pic>
      <p:sp>
        <p:nvSpPr>
          <p:cNvPr id="22" name="Sticky">
            <a:extLst>
              <a:ext uri="{FF2B5EF4-FFF2-40B4-BE49-F238E27FC236}">
                <a16:creationId xmlns:a16="http://schemas.microsoft.com/office/drawing/2014/main" id="{9E70ABD7-2FF0-48AF-82BD-3EA69638F20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349109" y="158750"/>
            <a:ext cx="1905000" cy="411899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64943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000000"/>
                </a:solidFill>
              </a:rPr>
              <a:t>Reda</a:t>
            </a: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77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839C3B-E58B-4FA5-AD30-BBBABB378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56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839C3B-E58B-4FA5-AD30-BBBABB378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16F82A7-E5DF-41D5-B939-6F3CB51BC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536236"/>
            <a:ext cx="11082528" cy="731520"/>
          </a:xfrm>
        </p:spPr>
        <p:txBody>
          <a:bodyPr vert="horz"/>
          <a:lstStyle/>
          <a:p>
            <a:r>
              <a:rPr lang="en-US" sz="3600" dirty="0" err="1"/>
              <a:t>CleanR</a:t>
            </a:r>
            <a:r>
              <a:rPr lang="en-US" sz="3600" dirty="0"/>
              <a:t> minds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A05039-D525-4A21-9B46-DFAED80F0F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C00F98-E9ED-4A48-B298-DB39137CD264}"/>
              </a:ext>
            </a:extLst>
          </p:cNvPr>
          <p:cNvSpPr txBox="1">
            <a:spLocks/>
          </p:cNvSpPr>
          <p:nvPr/>
        </p:nvSpPr>
        <p:spPr>
          <a:xfrm>
            <a:off x="6557278" y="5711343"/>
            <a:ext cx="5067613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HAVE FUN!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374F7A-D129-468D-8945-198FB07EEE56}"/>
              </a:ext>
            </a:extLst>
          </p:cNvPr>
          <p:cNvSpPr txBox="1">
            <a:spLocks/>
          </p:cNvSpPr>
          <p:nvPr/>
        </p:nvSpPr>
        <p:spPr>
          <a:xfrm>
            <a:off x="6557278" y="3116494"/>
            <a:ext cx="5067613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BE CREATIVE!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1AA923A-02B5-4606-9089-AD4FCC2AEF76}"/>
              </a:ext>
            </a:extLst>
          </p:cNvPr>
          <p:cNvGrpSpPr/>
          <p:nvPr/>
        </p:nvGrpSpPr>
        <p:grpSpPr>
          <a:xfrm>
            <a:off x="7980893" y="3994424"/>
            <a:ext cx="2305578" cy="1666042"/>
            <a:chOff x="1990724" y="1409782"/>
            <a:chExt cx="2305578" cy="166604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6DF3588-F8FA-4CC3-A390-E2B168AD6E0E}"/>
                </a:ext>
              </a:extLst>
            </p:cNvPr>
            <p:cNvSpPr>
              <a:spLocks/>
            </p:cNvSpPr>
            <p:nvPr/>
          </p:nvSpPr>
          <p:spPr>
            <a:xfrm>
              <a:off x="2075920" y="1409782"/>
              <a:ext cx="2220382" cy="166604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2F320FB-AC97-4883-8F5B-A186A1247F17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-10000"/>
                      </a14:imgEffect>
                      <a14:imgEffect>
                        <a14:saturation sat="33000"/>
                      </a14:imgEffect>
                      <a14:imgEffect>
                        <a14:colorTemperature colorTemp="625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990724" y="1409782"/>
              <a:ext cx="2220382" cy="1666042"/>
            </a:xfrm>
            <a:prstGeom prst="ellipse">
              <a:avLst/>
            </a:prstGeom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BEEE8F-8D04-4D49-94A4-93C995BC5B0E}"/>
              </a:ext>
            </a:extLst>
          </p:cNvPr>
          <p:cNvGrpSpPr/>
          <p:nvPr/>
        </p:nvGrpSpPr>
        <p:grpSpPr>
          <a:xfrm>
            <a:off x="7980893" y="1409782"/>
            <a:ext cx="2308806" cy="1666042"/>
            <a:chOff x="7980893" y="1409782"/>
            <a:chExt cx="2308806" cy="1666042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1F5A04-9562-47A7-9DAB-1A9D5287E00C}"/>
                </a:ext>
              </a:extLst>
            </p:cNvPr>
            <p:cNvSpPr>
              <a:spLocks/>
            </p:cNvSpPr>
            <p:nvPr/>
          </p:nvSpPr>
          <p:spPr>
            <a:xfrm>
              <a:off x="8069317" y="1409782"/>
              <a:ext cx="2220382" cy="166604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2C324FF-0D19-449A-ACC8-F7B809707C6F}"/>
                </a:ext>
              </a:extLst>
            </p:cNvPr>
            <p:cNvPicPr>
              <a:picLocks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10000"/>
                      </a14:imgEffect>
                      <a14:imgEffect>
                        <a14:saturation sat="75000"/>
                      </a14:imgEffect>
                      <a14:imgEffect>
                        <a14:colorTemperature colorTemp="625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980893" y="1409782"/>
              <a:ext cx="2220382" cy="1666042"/>
            </a:xfrm>
            <a:prstGeom prst="ellipse">
              <a:avLst/>
            </a:prstGeom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2F1AE87-6E23-4D4A-9CA2-680BDF4FD1D8}"/>
              </a:ext>
            </a:extLst>
          </p:cNvPr>
          <p:cNvSpPr txBox="1">
            <a:spLocks/>
          </p:cNvSpPr>
          <p:nvPr/>
        </p:nvSpPr>
        <p:spPr>
          <a:xfrm>
            <a:off x="567109" y="5737415"/>
            <a:ext cx="5067613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BE INCLUSIVE!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F4FBCA-2B75-4185-8389-D62200280D9A}"/>
              </a:ext>
            </a:extLst>
          </p:cNvPr>
          <p:cNvSpPr txBox="1">
            <a:spLocks/>
          </p:cNvSpPr>
          <p:nvPr/>
        </p:nvSpPr>
        <p:spPr>
          <a:xfrm>
            <a:off x="567109" y="3116494"/>
            <a:ext cx="5067613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THINK BIG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and start small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!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9BC5161-FE82-45EC-8FCB-7041AC9FF8B9}"/>
              </a:ext>
            </a:extLst>
          </p:cNvPr>
          <p:cNvGrpSpPr/>
          <p:nvPr/>
        </p:nvGrpSpPr>
        <p:grpSpPr>
          <a:xfrm>
            <a:off x="1990724" y="3994424"/>
            <a:ext cx="2305578" cy="1666042"/>
            <a:chOff x="1990724" y="3994424"/>
            <a:chExt cx="2305578" cy="1666042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A75BA06-6F4B-4F34-8275-BD0BA9FF215B}"/>
                </a:ext>
              </a:extLst>
            </p:cNvPr>
            <p:cNvSpPr>
              <a:spLocks/>
            </p:cNvSpPr>
            <p:nvPr/>
          </p:nvSpPr>
          <p:spPr>
            <a:xfrm>
              <a:off x="2075920" y="3994424"/>
              <a:ext cx="2220382" cy="166604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BB496C0-890C-441B-AA04-56F9CF64BA9C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contrast="-10000"/>
                      </a14:imgEffect>
                      <a14:imgEffect>
                        <a14:saturation sat="75000"/>
                      </a14:imgEffect>
                      <a14:imgEffect>
                        <a14:colorTemperature colorTemp="625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990724" y="3994424"/>
              <a:ext cx="2220382" cy="1666042"/>
            </a:xfrm>
            <a:prstGeom prst="ellipse">
              <a:avLst/>
            </a:prstGeom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A88614-5D9F-489E-90FB-8579D58650E9}"/>
              </a:ext>
            </a:extLst>
          </p:cNvPr>
          <p:cNvGrpSpPr/>
          <p:nvPr/>
        </p:nvGrpSpPr>
        <p:grpSpPr>
          <a:xfrm>
            <a:off x="1990724" y="1409782"/>
            <a:ext cx="2308806" cy="1666042"/>
            <a:chOff x="7980893" y="3994424"/>
            <a:chExt cx="2308806" cy="1666042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F21FE25-9127-409F-BD76-98C5C8DEA7D9}"/>
                </a:ext>
              </a:extLst>
            </p:cNvPr>
            <p:cNvSpPr>
              <a:spLocks/>
            </p:cNvSpPr>
            <p:nvPr/>
          </p:nvSpPr>
          <p:spPr>
            <a:xfrm>
              <a:off x="8069317" y="3994424"/>
              <a:ext cx="2220382" cy="1666042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5A32768-61B5-4962-B857-0C2B58503E6E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contrast="-10000"/>
                      </a14:imgEffect>
                      <a14:imgEffect>
                        <a14:saturation sat="75000"/>
                      </a14:imgEffect>
                      <a14:imgEffect>
                        <a14:colorTemperature colorTemp="625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980893" y="3994424"/>
              <a:ext cx="2220382" cy="1666042"/>
            </a:xfrm>
            <a:prstGeom prst="ellipse">
              <a:avLst/>
            </a:prstGeom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2" name="Sticky">
            <a:extLst>
              <a:ext uri="{FF2B5EF4-FFF2-40B4-BE49-F238E27FC236}">
                <a16:creationId xmlns:a16="http://schemas.microsoft.com/office/drawing/2014/main" id="{069B8276-B147-42A2-9EDA-1A96C27DDF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349109" y="158750"/>
            <a:ext cx="1905000" cy="411899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64943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solidFill>
                  <a:srgbClr val="000000"/>
                </a:solidFill>
              </a:rPr>
              <a:t>Reda</a:t>
            </a: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852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7337C3DD-1C08-45CB-94B2-FEC9E5EF6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500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6" progId="TCLayout.ActiveDocument.1">
                  <p:embed/>
                </p:oleObj>
              </mc:Choice>
              <mc:Fallback>
                <p:oleObj name="think-cell Slide" r:id="rId34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3B2F1C-1E7A-4025-A877-361003AA8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</p:spPr>
        <p:txBody>
          <a:bodyPr vert="horz">
            <a:noAutofit/>
          </a:bodyPr>
          <a:lstStyle/>
          <a:p>
            <a:r>
              <a:rPr lang="en-US" dirty="0"/>
              <a:t>Grading criteria</a:t>
            </a:r>
          </a:p>
        </p:txBody>
      </p:sp>
      <p:sp>
        <p:nvSpPr>
          <p:cNvPr id="47" name="Sticky">
            <a:extLst>
              <a:ext uri="{FF2B5EF4-FFF2-40B4-BE49-F238E27FC236}">
                <a16:creationId xmlns:a16="http://schemas.microsoft.com/office/drawing/2014/main" id="{8DEE607C-44DA-4FB1-9F0F-21DE83CF42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349109" y="158750"/>
            <a:ext cx="1905000" cy="411899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64943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000000"/>
                </a:solidFill>
              </a:rPr>
              <a:t>Mathild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7C1B827-84B0-4574-B1BC-04B89A615D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1560517"/>
            <a:ext cx="1156369" cy="3385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/>
              <a:t>Typ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49AE2BE-3EA8-43CE-A868-7D0834C9550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1998783"/>
            <a:ext cx="1156369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ech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1BF21EB-979B-41B1-AF85-E9AE8DC6F9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4239194"/>
            <a:ext cx="1156369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Busines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1A65F7A-F3CD-42C5-8E45-79C2A25888C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986998" y="1560517"/>
            <a:ext cx="1648673" cy="3385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/>
              <a:t>Axi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278CBB4-6B05-420D-9588-4425C4CED72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986998" y="1998783"/>
            <a:ext cx="164867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Modeling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4D9E017-78C9-45FF-8FC8-9BE8775DDA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986998" y="4239194"/>
            <a:ext cx="164867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/>
              <a:t>Pitch</a:t>
            </a:r>
            <a:endParaRPr lang="en-US" sz="1800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75D802A-0748-4C8D-B874-2624F10075F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986998" y="4626929"/>
            <a:ext cx="164867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Business model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222D867-8486-40C7-A980-9861C9DFB63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911564" y="1560517"/>
            <a:ext cx="7708937" cy="33855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/>
              <a:t>Criteri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6B2C985-5218-4DD7-A7C3-5497235F0DB2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911564" y="1998783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Model performance</a:t>
            </a:r>
            <a:endParaRPr lang="en-US" sz="18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BFEAEB4-179A-4047-A142-38FFCBC40DF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911564" y="2355495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Scientific </a:t>
            </a:r>
            <a:r>
              <a:rPr lang="fr-FR" sz="1800" dirty="0" err="1"/>
              <a:t>approach</a:t>
            </a:r>
            <a:r>
              <a:rPr lang="fr-FR" sz="1800" dirty="0"/>
              <a:t> </a:t>
            </a:r>
            <a:r>
              <a:rPr lang="fr-FR" sz="1800" dirty="0" err="1"/>
              <a:t>quality</a:t>
            </a:r>
            <a:r>
              <a:rPr lang="fr-FR" sz="1800" dirty="0"/>
              <a:t> and </a:t>
            </a:r>
            <a:r>
              <a:rPr lang="fr-FR" sz="1800" dirty="0" err="1"/>
              <a:t>depth</a:t>
            </a:r>
            <a:endParaRPr lang="en-US" sz="18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43BDDAF-404A-4507-8653-0551379EB4C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911564" y="2752974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Code </a:t>
            </a:r>
            <a:r>
              <a:rPr lang="fr-FR" sz="1800" dirty="0" err="1"/>
              <a:t>quality</a:t>
            </a:r>
            <a:r>
              <a:rPr lang="fr-FR" sz="1800" dirty="0"/>
              <a:t> (</a:t>
            </a:r>
            <a:r>
              <a:rPr lang="fr-FR" sz="1800" dirty="0" err="1"/>
              <a:t>typing</a:t>
            </a:r>
            <a:r>
              <a:rPr lang="fr-FR" sz="1800" dirty="0"/>
              <a:t>, </a:t>
            </a:r>
            <a:r>
              <a:rPr lang="fr-FR" sz="1800" dirty="0" err="1"/>
              <a:t>docstring</a:t>
            </a:r>
            <a:r>
              <a:rPr lang="fr-FR" sz="1800" dirty="0"/>
              <a:t>, </a:t>
            </a:r>
            <a:r>
              <a:rPr lang="fr-FR" sz="1800" dirty="0" err="1"/>
              <a:t>comments</a:t>
            </a:r>
            <a:r>
              <a:rPr lang="fr-FR" sz="1800" dirty="0"/>
              <a:t>, code </a:t>
            </a:r>
            <a:r>
              <a:rPr lang="fr-FR" sz="1800" dirty="0" err="1"/>
              <a:t>clarity</a:t>
            </a:r>
            <a:r>
              <a:rPr lang="fr-FR" sz="1800" dirty="0"/>
              <a:t>)</a:t>
            </a:r>
            <a:endParaRPr lang="en-US" sz="18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CE0F6DC-B886-4842-9401-4C65974D758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986998" y="3093379"/>
            <a:ext cx="164867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App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D8CFAAB-E9FE-4314-A8C1-FB92556A415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911564" y="3093379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 err="1"/>
              <a:t>Did</a:t>
            </a:r>
            <a:r>
              <a:rPr lang="fr-FR" sz="1800" dirty="0"/>
              <a:t> the team </a:t>
            </a:r>
            <a:r>
              <a:rPr lang="fr-FR" sz="1800" dirty="0" err="1"/>
              <a:t>build</a:t>
            </a:r>
            <a:r>
              <a:rPr lang="fr-FR" sz="1800" dirty="0"/>
              <a:t> an MVP (minimum viable </a:t>
            </a:r>
            <a:r>
              <a:rPr lang="fr-FR" sz="1800" dirty="0" err="1"/>
              <a:t>product</a:t>
            </a:r>
            <a:r>
              <a:rPr lang="fr-FR" sz="1800" dirty="0"/>
              <a:t>) ?</a:t>
            </a:r>
            <a:endParaRPr lang="en-US" sz="18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BFFA130-4085-4C61-A6C1-CD5AC5CDC9CE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911564" y="3433784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 err="1"/>
              <a:t>Creativity</a:t>
            </a:r>
            <a:endParaRPr lang="en-US" sz="18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83FC4B6-B32F-4109-A835-B5127A423A00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911564" y="3774189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User </a:t>
            </a:r>
            <a:r>
              <a:rPr lang="fr-FR" sz="1800" dirty="0" err="1"/>
              <a:t>experience</a:t>
            </a:r>
            <a:r>
              <a:rPr lang="fr-FR" sz="1800" dirty="0"/>
              <a:t> (</a:t>
            </a:r>
            <a:r>
              <a:rPr lang="fr-FR" sz="1800" dirty="0" err="1"/>
              <a:t>ergonomy</a:t>
            </a:r>
            <a:r>
              <a:rPr lang="fr-FR" sz="1800" dirty="0"/>
              <a:t>, </a:t>
            </a:r>
            <a:r>
              <a:rPr lang="fr-FR" sz="1800" dirty="0" err="1"/>
              <a:t>ease</a:t>
            </a:r>
            <a:r>
              <a:rPr lang="fr-FR" sz="1800" dirty="0"/>
              <a:t> of use for standard user)</a:t>
            </a:r>
            <a:endParaRPr lang="en-US" sz="180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C6E2D96-FD8F-437E-8ED5-EEFD22AADDB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11564" y="4239194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The pitch </a:t>
            </a:r>
            <a:r>
              <a:rPr lang="fr-FR" sz="1800" dirty="0" err="1"/>
              <a:t>was</a:t>
            </a:r>
            <a:r>
              <a:rPr lang="fr-FR" sz="1800" dirty="0"/>
              <a:t> </a:t>
            </a:r>
            <a:r>
              <a:rPr lang="fr-FR" sz="1800" dirty="0" err="1"/>
              <a:t>structured</a:t>
            </a:r>
            <a:r>
              <a:rPr lang="fr-FR" sz="1800" dirty="0"/>
              <a:t>, impact </a:t>
            </a:r>
            <a:r>
              <a:rPr lang="fr-FR" sz="1800" dirty="0" err="1"/>
              <a:t>driven</a:t>
            </a:r>
            <a:r>
              <a:rPr lang="fr-FR" sz="1800" dirty="0"/>
              <a:t> and </a:t>
            </a:r>
            <a:r>
              <a:rPr lang="fr-FR" sz="1800" dirty="0" err="1"/>
              <a:t>dynamic</a:t>
            </a:r>
            <a:endParaRPr lang="en-US" sz="1800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3EF34E7-B948-4B86-9F81-3386A2F005AA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911564" y="4626929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 err="1"/>
              <a:t>Did</a:t>
            </a:r>
            <a:r>
              <a:rPr lang="fr-FR" sz="1800" dirty="0"/>
              <a:t> the team </a:t>
            </a:r>
            <a:r>
              <a:rPr lang="fr-FR" sz="1800" dirty="0" err="1"/>
              <a:t>understand</a:t>
            </a:r>
            <a:r>
              <a:rPr lang="fr-FR" sz="1800" dirty="0"/>
              <a:t> the business aspect of </a:t>
            </a:r>
            <a:r>
              <a:rPr lang="fr-FR" sz="1800" dirty="0" err="1"/>
              <a:t>methane</a:t>
            </a:r>
            <a:r>
              <a:rPr lang="fr-FR" sz="1800" dirty="0"/>
              <a:t> </a:t>
            </a:r>
            <a:r>
              <a:rPr lang="fr-FR" sz="1800" dirty="0" err="1"/>
              <a:t>emissions</a:t>
            </a:r>
            <a:r>
              <a:rPr lang="fr-FR" sz="1800" dirty="0"/>
              <a:t> ?</a:t>
            </a:r>
            <a:endParaRPr lang="en-US" sz="1800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FB9D0BFE-F411-4F80-BF57-F7371F6E8B1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3911564" y="4967334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dirty="0"/>
              <a:t>Relevance of use cases to drive positive impact </a:t>
            </a:r>
            <a:r>
              <a:rPr lang="fr-FR" sz="1800" dirty="0" err="1"/>
              <a:t>with</a:t>
            </a:r>
            <a:r>
              <a:rPr lang="fr-FR" sz="1800" dirty="0"/>
              <a:t> the web app ?</a:t>
            </a:r>
            <a:endParaRPr lang="en-US" sz="18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0E60995-FF59-4EF3-B6CF-E3207A60BC2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3911564" y="5307748"/>
            <a:ext cx="77089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Business model elements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841A8268-5C57-49F5-A594-00175CAE55FD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554736" y="1935283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5D8A744-A129-4CEB-AB6B-760957267AA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3911564" y="2295910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3BFC45E7-92A5-4A21-A954-B9D939DF8534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3911564" y="2674976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ECAC496-DC72-4AA2-9D75-0675DF9FF353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1986998" y="3061676"/>
            <a:ext cx="9633503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4169E195-9269-408A-AE90-C13A6F34F714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911564" y="3402081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4CFDD4C-2BD4-4ECA-82D1-88727A61A89A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3911564" y="3742486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EE13099C-7928-4635-95F5-06E07BF937E3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>
            <a:off x="554736" y="4207491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3E63CF51-175A-4F76-A0E5-D01DDBDECC79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1986998" y="4595226"/>
            <a:ext cx="9633503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FCB371D5-8F43-455F-89A4-EF9322D7EB16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>
          <a:xfrm>
            <a:off x="3911564" y="4935631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E3BFDEF7-7F4B-40AC-B619-B5D2DD2EDF0E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>
          <a:xfrm>
            <a:off x="3911564" y="5276036"/>
            <a:ext cx="7708937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4204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7337C3DD-1C08-45CB-94B2-FEC9E5EF6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95" imgH="396" progId="TCLayout.ActiveDocument.1">
                  <p:embed/>
                </p:oleObj>
              </mc:Choice>
              <mc:Fallback>
                <p:oleObj name="think-cell Slide" r:id="rId39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E3B2F1C-1E7A-4025-A877-361003AA820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>
            <a:noAutofit/>
          </a:bodyPr>
          <a:lstStyle/>
          <a:p>
            <a:r>
              <a:rPr lang="en-US" dirty="0"/>
              <a:t>Teams and Coaches</a:t>
            </a:r>
          </a:p>
        </p:txBody>
      </p:sp>
      <p:sp>
        <p:nvSpPr>
          <p:cNvPr id="9" name="Sticky">
            <a:extLst>
              <a:ext uri="{FF2B5EF4-FFF2-40B4-BE49-F238E27FC236}">
                <a16:creationId xmlns:a16="http://schemas.microsoft.com/office/drawing/2014/main" id="{245C3F88-3998-48F1-B94F-8DB2E48D1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349109" y="158750"/>
            <a:ext cx="1905000" cy="411899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64943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000000"/>
                </a:solidFill>
              </a:rPr>
              <a:t>Mathil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55F3A4-DBAB-49AB-AB47-AAD1E0F8683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1324547"/>
            <a:ext cx="91440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eam #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2BD348-0A07-4B29-A71A-DC4703E71D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1994647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3E4B8DB-C2F3-4F75-9B3D-0B5BF8F2F8D3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6" y="1632324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7A3B2C0-4936-4115-9691-41D801BAC2C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108042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0C3B573-03CE-4D9A-A183-021BA1DFDFE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2583760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0292A79-B5DE-4966-9F58-13080A7CC94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3059478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2473AB3-963D-4470-95D6-D2570097D34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3535196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F6C7E86-E47A-4A8C-A105-5407DDD70418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54736" y="4010914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2318BA99-72FC-41DC-991C-5F0C839ED311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554736" y="4486632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B23510D-EF0F-4E17-B68B-65917A86FF8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554736" y="4962350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3728364D-9BE7-4A7B-93A7-1AD91722D5E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857351" y="1324547"/>
            <a:ext cx="3514303" cy="30777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Coach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0E359F-991D-4F78-9818-2F13428A99A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54736" y="1747072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8F08F05-DC0D-4DAA-A2A8-65F7468C063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857351" y="1747073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Sophie Brosse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sophie_brosse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0A9F2C-D3C9-478B-91CF-DDA36E23FD8B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54736" y="2222790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2</a:t>
            </a:r>
            <a:endParaRPr lang="en-US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9DD0C1-3BE5-44A1-A53E-4BB4DB06313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857351" y="2222791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athilde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Lavacquery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athilde_lavacquery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DB1CC0-C545-43AF-B97D-01C3C416C2C8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4736" y="2698508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D75F255-1891-4F69-AFE2-88CCC41B136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2857351" y="2698509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Othmane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Aitboumlik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Othmane_Aitboumlik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DD1475-442B-4266-BFD8-647618BDE410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54736" y="3174226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4</a:t>
            </a:r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C283CCC-F24C-4BBC-81B3-947DA641FD04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2857351" y="3174227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Emma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illiot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Emma_milliot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E244CF-0006-42A8-B4D0-AB9048A30F10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54736" y="3649944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5</a:t>
            </a:r>
            <a:endParaRPr lang="en-US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AA159F3-7FC4-447E-90B4-9797795F39E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2857350" y="3649945"/>
            <a:ext cx="8082917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Colomban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 Basset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Colomban_basset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316858-52A9-455C-99D7-07CFC363F44B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554736" y="4125663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6</a:t>
            </a:r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CFD8B08-B5EF-4053-A510-2A0380F3B39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2857351" y="4125663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Lucie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Gattepaille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Lucie_gattepaille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61DEB8-AAE4-4513-82F7-75D8805FA7C5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4736" y="4601381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7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E7F598C-543B-4180-B9B8-469ACE262D68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857351" y="4601381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Amine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Dassouli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amine_dassouli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DC7E3B-EAEB-4B96-8FF8-960FD686BF8E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4736" y="5077099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8</a:t>
            </a:r>
            <a:endParaRPr 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7C60A8A-5908-4FC9-A117-22B2F82C264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2857351" y="5077099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arwa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ahfoud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Marwa_mahfoud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E1711-49A3-0C8A-B350-3AA9455923CB}"/>
              </a:ext>
            </a:extLst>
          </p:cNvPr>
          <p:cNvSpPr txBox="1"/>
          <p:nvPr/>
        </p:nvSpPr>
        <p:spPr>
          <a:xfrm>
            <a:off x="12178145" y="602853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EB8A2A-6F3F-D5B5-5912-529F02BD420E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>
          <a:xfrm>
            <a:off x="554736" y="5438068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EDA1381-CC92-485A-5AF1-7942A3A2D57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554736" y="5552817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ECACF8-6E6C-E5A3-705C-52F379C33BF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2857351" y="5552817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Louise Bouton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louise_bouton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1F3BE0-7CC2-DFA8-9772-F8D01F9A262F}"/>
              </a:ext>
            </a:extLst>
          </p:cNvPr>
          <p:cNvSpPr txBox="1"/>
          <p:nvPr/>
        </p:nvSpPr>
        <p:spPr>
          <a:xfrm>
            <a:off x="12178145" y="6619006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0AFE0E-C036-FD9F-44AD-49E834B33627}"/>
              </a:ext>
            </a:extLst>
          </p:cNvPr>
          <p:cNvSpPr txBox="1"/>
          <p:nvPr/>
        </p:nvSpPr>
        <p:spPr>
          <a:xfrm>
            <a:off x="12178145" y="650425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34AE801-6381-738C-3DAD-C7FE642BE62A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>
          <a:xfrm>
            <a:off x="554736" y="5913786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18BED00-B721-B8A5-B192-31BC1AA44020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554736" y="6045602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1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967BBA-E20A-484A-4BAF-93F77F2F313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2857351" y="6045602"/>
            <a:ext cx="7346015" cy="24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Sasha Collin,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sym typeface=""/>
              </a:rPr>
              <a:t>sasha_collin@mckinsey.com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252762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4-27 01:11 PM"/>
  <p:tag name="THINKCELLPRESENTATIONDONOTDELETE" val="&lt;?xml version=&quot;1.0&quot; encoding=&quot;UTF-16&quot; standalone=&quot;yes&quot;?&gt;&lt;root reqver=&quot;27037&quot;&gt;&lt;version val=&quot;329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CONFILLBACKGROUND" val="Color [A=255, R=0, G=169, B=244]"/>
  <p:tag name="ICONFILLBACKGROUNDTHEME" val="Accent 2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r7FnuSOiQw3_eHkuh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Blue"/>
  <p:tag name="NAME" val="QuotationMarksBlu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45"/>
  <p:tag name="TOP" val="110"/>
  <p:tag name="HEIGHT" val="10.76921"/>
  <p:tag name="WIDTH" val="276.6667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45"/>
  <p:tag name="TOP" val="140.7692"/>
  <p:tag name="HEIGHT" val="10.76921"/>
  <p:tag name="WIDTH" val="276.6667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45"/>
  <p:tag name="TOP" val="356.1538"/>
  <p:tag name="HEIGHT" val="10.76921"/>
  <p:tag name="WIDTH" val="276.6667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341.6667"/>
  <p:tag name="TOP" val="110"/>
  <p:tag name="HEIGHT" val="10.76921"/>
  <p:tag name="WIDTH" val="276.6667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341.6667"/>
  <p:tag name="TOP" val="140.7692"/>
  <p:tag name="HEIGHT" val="10.76921"/>
  <p:tag name="WIDTH" val="276.6667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341.6667"/>
  <p:tag name="TOP" val="356.1538"/>
  <p:tag name="HEIGHT" val="10.76921"/>
  <p:tag name="WIDTH" val="276.6667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341.6667"/>
  <p:tag name="TOP" val="417.6923"/>
  <p:tag name="HEIGHT" val="10.76921"/>
  <p:tag name="WIDTH" val="276.6667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10"/>
  <p:tag name="HEIGHT" val="10.76921"/>
  <p:tag name="WIDTH" val="276.6667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02.3077"/>
  <p:tag name="HEIGHT" val="10.76921"/>
  <p:tag name="WIDTH" val="276.666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33.0769"/>
  <p:tag name="HEIGHT" val="10.76921"/>
  <p:tag name="WIDTH" val="276.6667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341.6667"/>
  <p:tag name="TOP" val="263.8461"/>
  <p:tag name="HEIGHT" val="10.76921"/>
  <p:tag name="WIDTH" val="276.6667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63.8461"/>
  <p:tag name="HEIGHT" val="10.76921"/>
  <p:tag name="WIDTH" val="276.6667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94.6154"/>
  <p:tag name="HEIGHT" val="10.76921"/>
  <p:tag name="WIDTH" val="276.6667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325.3846"/>
  <p:tag name="HEIGHT" val="10.76921"/>
  <p:tag name="WIDTH" val="276.6667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356.1538"/>
  <p:tag name="HEIGHT" val="10.76921"/>
  <p:tag name="WIDTH" val="276.6667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417.6923"/>
  <p:tag name="HEIGHT" val="10.76921"/>
  <p:tag name="WIDTH" val="276.6667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448.4615"/>
  <p:tag name="HEIGHT" val="10.76921"/>
  <p:tag name="WIDTH" val="276.6667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479.2308"/>
  <p:tag name="HEIGHT" val="10.76921"/>
  <p:tag name="WIDTH" val="276.6667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110"/>
  <p:tag name="HEIGHT" val="3.529449"/>
  <p:tag name="WIDTH" val="276.6667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157.0588"/>
  <p:tag name="HEIGHT" val="3.529449"/>
  <p:tag name="WIDTH" val="276.6667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341.6667"/>
  <p:tag name="TOP" val="110"/>
  <p:tag name="HEIGHT" val="3.529449"/>
  <p:tag name="WIDTH" val="276.6667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133.5294"/>
  <p:tag name="HEIGHT" val="3.529449"/>
  <p:tag name="WIDTH" val="276.6667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180.5882"/>
  <p:tag name="HEIGHT" val="3.529449"/>
  <p:tag name="WIDTH" val="276.6667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227.6471"/>
  <p:tag name="HEIGHT" val="3.529449"/>
  <p:tag name="WIDTH" val="276.6667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274.7059"/>
  <p:tag name="HEIGHT" val="3.529449"/>
  <p:tag name="WIDTH" val="276.666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321.7647"/>
  <p:tag name="HEIGHT" val="3.529449"/>
  <p:tag name="WIDTH" val="276.6667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368.8235"/>
  <p:tag name="HEIGHT" val="3.529449"/>
  <p:tag name="WIDTH" val="276.6667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415.8824"/>
  <p:tag name="HEIGHT" val="3.529449"/>
  <p:tag name="WIDTH" val="276.6667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462.9412"/>
  <p:tag name="HEIGHT" val="3.529449"/>
  <p:tag name="WIDTH" val="276.6667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462.9412"/>
  <p:tag name="HEIGHT" val="3.529449"/>
  <p:tag name="WIDTH" val="276.6667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169452855442396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69452855442396"/>
  <p:tag name="LEFT" val="45"/>
  <p:tag name="TOP" val="462.9412"/>
  <p:tag name="HEIGHT" val="3.529449"/>
  <p:tag name="WIDTH" val="276.6667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31119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31119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B998E58D-2466-425D-BFE9-39C89E200AF3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31119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3111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EB4CD69D-43A4-4429-BE91-FC0926038AC5}"/>
    </a:ext>
  </a:extLst>
</a:theme>
</file>

<file path=ppt/theme/theme3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D8E3C897-85A5-4EC0-B954-E609CAE62F33}" vid="{C7CBBD27-844B-4EB4-A36A-46ADE5E96C51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392979B-D1DE-2443-A7F3-096782F3865A}">
  <we:reference id="186f9e69-8c0a-4e87-b19c-647c4ba34c10" version="16.22.6.1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White</Template>
  <TotalTime>12633</TotalTime>
  <Words>592</Words>
  <Application>Microsoft Macintosh PowerPoint</Application>
  <PresentationFormat>Widescreen</PresentationFormat>
  <Paragraphs>114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Segoe UI</vt:lpstr>
      <vt:lpstr>Wingdings</vt:lpstr>
      <vt:lpstr>Georgia</vt:lpstr>
      <vt:lpstr>Arial</vt:lpstr>
      <vt:lpstr>White</vt:lpstr>
      <vt:lpstr>Contrast</vt:lpstr>
      <vt:lpstr>1_White</vt:lpstr>
      <vt:lpstr>think-cell Slide</vt:lpstr>
      <vt:lpstr>How Data &amp; AI can help detect Methane emissions</vt:lpstr>
      <vt:lpstr>Agenda</vt:lpstr>
      <vt:lpstr>PowerPoint Presentation</vt:lpstr>
      <vt:lpstr>Announcement</vt:lpstr>
      <vt:lpstr>To help CleanR, please provide ...</vt:lpstr>
      <vt:lpstr>CleanR mindset</vt:lpstr>
      <vt:lpstr>Grading criteria</vt:lpstr>
      <vt:lpstr>Teams and Coach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’agriculture de demain</dc:title>
  <dc:subject/>
  <dc:creator>Reda Slaoui</dc:creator>
  <cp:keywords/>
  <dc:description/>
  <cp:lastModifiedBy>Reda Slaoui</cp:lastModifiedBy>
  <cp:revision>93</cp:revision>
  <cp:lastPrinted>2022-12-04T16:44:48Z</cp:lastPrinted>
  <dcterms:created xsi:type="dcterms:W3CDTF">2022-09-13T12:13:55Z</dcterms:created>
  <dcterms:modified xsi:type="dcterms:W3CDTF">2023-05-12T17:26:4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4-27 01:11 PM</vt:lpwstr>
  </property>
</Properties>
</file>